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notesMasterIdLst>
    <p:notesMasterId r:id="rId13"/>
  </p:notesMasterIdLst>
  <p:handoutMasterIdLst>
    <p:handoutMasterId r:id="rId14"/>
  </p:handoutMasterIdLst>
  <p:sldIdLst>
    <p:sldId id="2147469701" r:id="rId5"/>
    <p:sldId id="2147470633" r:id="rId6"/>
    <p:sldId id="2147469755" r:id="rId7"/>
    <p:sldId id="2147469702" r:id="rId8"/>
    <p:sldId id="2147469616" r:id="rId9"/>
    <p:sldId id="2147470635" r:id="rId10"/>
    <p:sldId id="2147470641" r:id="rId11"/>
    <p:sldId id="2145707133" r:id="rId12"/>
  </p:sldIdLst>
  <p:sldSz cx="12192000" cy="6858000"/>
  <p:notesSz cx="6888163" cy="10020300"/>
  <p:defaultTextStyle>
    <a:defPPr>
      <a:defRPr lang="pt-BR"/>
    </a:defPPr>
    <a:lvl1pPr marL="0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1pPr>
    <a:lvl2pPr marL="544131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2pPr>
    <a:lvl3pPr marL="1088261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3pPr>
    <a:lvl4pPr marL="1632391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4pPr>
    <a:lvl5pPr marL="2176522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5pPr>
    <a:lvl6pPr marL="2720652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6pPr>
    <a:lvl7pPr marL="3264782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7pPr>
    <a:lvl8pPr marL="3808913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8pPr>
    <a:lvl9pPr marL="4353043" algn="l" defTabSz="1088261" rtl="0" eaLnBrk="1" latinLnBrk="0" hangingPunct="1">
      <a:defRPr sz="215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pos="6403" userDrawn="1">
          <p15:clr>
            <a:srgbClr val="A4A3A4"/>
          </p15:clr>
        </p15:guide>
        <p15:guide id="3" pos="121" userDrawn="1">
          <p15:clr>
            <a:srgbClr val="A4A3A4"/>
          </p15:clr>
        </p15:guide>
        <p15:guide id="4" orient="horz" pos="2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ciana Aparecida Novaes Queiroz" initials="LANQ" lastIdx="1" clrIdx="0">
    <p:extLst>
      <p:ext uri="{19B8F6BF-5375-455C-9EA6-DF929625EA0E}">
        <p15:presenceInfo xmlns:p15="http://schemas.microsoft.com/office/powerpoint/2012/main" userId="S::luciana.novaes@telefonica.com::600d7d29-83e1-4f64-a64e-b8119ccc1c72" providerId="AD"/>
      </p:ext>
    </p:extLst>
  </p:cmAuthor>
  <p:cmAuthor id="2" name="Danae Mazzini Silva Brito" initials="DMSB" lastIdx="3" clrIdx="1">
    <p:extLst>
      <p:ext uri="{19B8F6BF-5375-455C-9EA6-DF929625EA0E}">
        <p15:presenceInfo xmlns:p15="http://schemas.microsoft.com/office/powerpoint/2012/main" userId="S::danae.brito@telefonica.com::45b7b4d8-3997-4a58-b61e-97ad069c0e95" providerId="AD"/>
      </p:ext>
    </p:extLst>
  </p:cmAuthor>
  <p:cmAuthor id="3" name="Karina Daidone Gennari Pimentel" initials="KDGP" lastIdx="13" clrIdx="2">
    <p:extLst>
      <p:ext uri="{19B8F6BF-5375-455C-9EA6-DF929625EA0E}">
        <p15:presenceInfo xmlns:p15="http://schemas.microsoft.com/office/powerpoint/2012/main" userId="S::karina.pimentel@telefonica.com::a82e390a-9a60-4884-921f-0c43e21d4e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99"/>
    <a:srgbClr val="99CC33"/>
    <a:srgbClr val="FF9900"/>
    <a:srgbClr val="C87FF1"/>
    <a:srgbClr val="FF3399"/>
    <a:srgbClr val="FF6699"/>
    <a:srgbClr val="231F20"/>
    <a:srgbClr val="B051F1"/>
    <a:srgbClr val="AD4AF0"/>
    <a:srgbClr val="A232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4B1156A-380E-4F78-BDF5-A606A8083BF9}" styleName="Estilo Médio 4 - Ênfas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954" y="66"/>
      </p:cViewPr>
      <p:guideLst>
        <p:guide orient="horz" pos="210"/>
        <p:guide pos="6403"/>
        <p:guide pos="121"/>
        <p:guide orient="horz" pos="265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D91E2314-5E72-4BB2-A40E-8FD0F060D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2755"/>
          </a:xfrm>
          <a:prstGeom prst="rect">
            <a:avLst/>
          </a:prstGeom>
        </p:spPr>
        <p:txBody>
          <a:bodyPr vert="horz" lIns="96611" tIns="48306" rIns="96611" bIns="48306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E07FE0E6-FD28-46C2-87A2-55085A062E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1699" y="0"/>
            <a:ext cx="2984870" cy="502755"/>
          </a:xfrm>
          <a:prstGeom prst="rect">
            <a:avLst/>
          </a:prstGeom>
        </p:spPr>
        <p:txBody>
          <a:bodyPr vert="horz" lIns="96611" tIns="48306" rIns="96611" bIns="48306" rtlCol="0"/>
          <a:lstStyle>
            <a:lvl1pPr algn="r">
              <a:defRPr sz="1300"/>
            </a:lvl1pPr>
          </a:lstStyle>
          <a:p>
            <a:fld id="{BA314993-00A7-4CAF-AC18-5AC0CADA69D6}" type="datetimeFigureOut">
              <a:rPr lang="pt-BR" smtClean="0"/>
              <a:t>24/02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A97C312-2DDB-44DC-B4FB-6DF4B849558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517547"/>
            <a:ext cx="2984870" cy="502754"/>
          </a:xfrm>
          <a:prstGeom prst="rect">
            <a:avLst/>
          </a:prstGeom>
        </p:spPr>
        <p:txBody>
          <a:bodyPr vert="horz" lIns="96611" tIns="48306" rIns="96611" bIns="48306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6DB17B2-5FD1-436D-934C-05420C0328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1699" y="9517547"/>
            <a:ext cx="2984870" cy="502754"/>
          </a:xfrm>
          <a:prstGeom prst="rect">
            <a:avLst/>
          </a:prstGeom>
        </p:spPr>
        <p:txBody>
          <a:bodyPr vert="horz" lIns="96611" tIns="48306" rIns="96611" bIns="48306" rtlCol="0" anchor="b"/>
          <a:lstStyle>
            <a:lvl1pPr algn="r">
              <a:defRPr sz="1300"/>
            </a:lvl1pPr>
          </a:lstStyle>
          <a:p>
            <a:fld id="{D26986C1-4C62-452F-A4B7-559F23718E9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98109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2755"/>
          </a:xfrm>
          <a:prstGeom prst="rect">
            <a:avLst/>
          </a:prstGeom>
        </p:spPr>
        <p:txBody>
          <a:bodyPr vert="horz" lIns="96611" tIns="48306" rIns="96611" bIns="48306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0" cy="502755"/>
          </a:xfrm>
          <a:prstGeom prst="rect">
            <a:avLst/>
          </a:prstGeom>
        </p:spPr>
        <p:txBody>
          <a:bodyPr vert="horz" lIns="96611" tIns="48306" rIns="96611" bIns="48306" rtlCol="0"/>
          <a:lstStyle>
            <a:lvl1pPr algn="r">
              <a:defRPr sz="1300"/>
            </a:lvl1pPr>
          </a:lstStyle>
          <a:p>
            <a:fld id="{412BF9D8-1915-4895-96FC-13A4B64C1ED1}" type="datetimeFigureOut">
              <a:rPr lang="pt-BR" smtClean="0"/>
              <a:t>24/0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2538"/>
            <a:ext cx="6011863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1" tIns="48306" rIns="96611" bIns="48306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8817" y="4822269"/>
            <a:ext cx="5510530" cy="3945493"/>
          </a:xfrm>
          <a:prstGeom prst="rect">
            <a:avLst/>
          </a:prstGeom>
        </p:spPr>
        <p:txBody>
          <a:bodyPr vert="horz" lIns="96611" tIns="48306" rIns="96611" bIns="48306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517547"/>
            <a:ext cx="2984870" cy="502754"/>
          </a:xfrm>
          <a:prstGeom prst="rect">
            <a:avLst/>
          </a:prstGeom>
        </p:spPr>
        <p:txBody>
          <a:bodyPr vert="horz" lIns="96611" tIns="48306" rIns="96611" bIns="48306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01699" y="9517547"/>
            <a:ext cx="2984870" cy="502754"/>
          </a:xfrm>
          <a:prstGeom prst="rect">
            <a:avLst/>
          </a:prstGeom>
        </p:spPr>
        <p:txBody>
          <a:bodyPr vert="horz" lIns="96611" tIns="48306" rIns="96611" bIns="48306" rtlCol="0" anchor="b"/>
          <a:lstStyle>
            <a:lvl1pPr algn="r">
              <a:defRPr sz="1300"/>
            </a:lvl1pPr>
          </a:lstStyle>
          <a:p>
            <a:fld id="{77B88187-FBDB-485A-AAFA-BF7F3A947B3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7601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B88187-FBDB-485A-AAFA-BF7F3A947B3F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7486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061490">
              <a:defRPr/>
            </a:pPr>
            <a:fld id="{77B88187-FBDB-485A-AAFA-BF7F3A947B3F}" type="slidenum">
              <a:rPr lang="pt-BR">
                <a:solidFill>
                  <a:prstClr val="black"/>
                </a:solidFill>
                <a:latin typeface="Calibri" panose="020F0502020204030204"/>
              </a:rPr>
              <a:pPr defTabSz="1061490">
                <a:defRPr/>
              </a:pPr>
              <a:t>5</a:t>
            </a:fld>
            <a:endParaRPr lang="pt-B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443261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Anotações 1">
            <a:extLst>
              <a:ext uri="{FF2B5EF4-FFF2-40B4-BE49-F238E27FC236}">
                <a16:creationId xmlns:a16="http://schemas.microsoft.com/office/drawing/2014/main" id="{962E3095-07DE-4E53-89C1-026ED6A7E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b="1">
                <a:solidFill>
                  <a:srgbClr val="EB3C7D"/>
                </a:solidFill>
              </a:rPr>
              <a:t>Prêmio Reimagine </a:t>
            </a:r>
            <a:r>
              <a:rPr lang="pt-BR" sz="1200" b="1" err="1">
                <a:solidFill>
                  <a:srgbClr val="EB3C7D"/>
                </a:solidFill>
              </a:rPr>
              <a:t>Education</a:t>
            </a:r>
            <a:r>
              <a:rPr lang="pt-BR" sz="1200"/>
              <a:t>: organizado pela instituição britânica “</a:t>
            </a:r>
            <a:r>
              <a:rPr lang="en-US" sz="1200">
                <a:ea typeface="Calibri" panose="020F0502020204030204" pitchFamily="34" charset="0"/>
              </a:rPr>
              <a:t>QS </a:t>
            </a:r>
            <a:r>
              <a:rPr lang="en-US" sz="1200" err="1">
                <a:ea typeface="Calibri" panose="020F0502020204030204" pitchFamily="34" charset="0"/>
              </a:rPr>
              <a:t>Quacquarelli</a:t>
            </a:r>
            <a:r>
              <a:rPr lang="en-US" sz="1200">
                <a:ea typeface="Calibri" panose="020F0502020204030204" pitchFamily="34" charset="0"/>
              </a:rPr>
              <a:t> Symonds”, </a:t>
            </a:r>
            <a:r>
              <a:rPr lang="pt-BR" sz="1200"/>
              <a:t>uma das principais e mais respeitadas do mundo e responsável por avaliar e ranquear todas as instituições de ensino superior no mundo, em parcerias com Google, Microsoft e IBM.</a:t>
            </a:r>
            <a:r>
              <a:rPr lang="en-US" sz="1200" b="0">
                <a:solidFill>
                  <a:schemeClr val="tx1"/>
                </a:solidFill>
              </a:rPr>
              <a:t> </a:t>
            </a:r>
            <a:r>
              <a:rPr lang="pt-BR" sz="1200" b="0">
                <a:solidFill>
                  <a:srgbClr val="EB3C7D"/>
                </a:solidFill>
              </a:rPr>
              <a:t>Este é o</a:t>
            </a:r>
            <a:r>
              <a:rPr lang="pt-BR" sz="1200" b="0"/>
              <a:t> </a:t>
            </a:r>
            <a:r>
              <a:rPr lang="pt-BR" sz="1200"/>
              <a:t>maior programa de prêmios do mundo para pedagogias inovadoras. Premia abordagens inovadores que melhoram à aprendizagem e empregabilidade dos aluno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200" b="1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err="1"/>
              <a:t>Revisão</a:t>
            </a:r>
            <a:r>
              <a:rPr lang="es-ES" sz="1200" b="1"/>
              <a:t> de catálogo: </a:t>
            </a:r>
            <a:r>
              <a:rPr lang="es-ES" sz="1200" b="0" err="1"/>
              <a:t>eliminação</a:t>
            </a:r>
            <a:r>
              <a:rPr lang="es-ES" sz="1200" b="0"/>
              <a:t> de 17 cursos </a:t>
            </a:r>
            <a:r>
              <a:rPr lang="es-ES" sz="1200" b="0" err="1"/>
              <a:t>não</a:t>
            </a:r>
            <a:r>
              <a:rPr lang="es-ES" sz="1200" b="0"/>
              <a:t> </a:t>
            </a:r>
            <a:r>
              <a:rPr lang="es-ES" sz="1200" b="0" err="1"/>
              <a:t>alinhados</a:t>
            </a:r>
            <a:r>
              <a:rPr lang="es-ES" sz="1200" b="0"/>
              <a:t> </a:t>
            </a:r>
            <a:r>
              <a:rPr lang="es-ES" sz="1200" b="0" err="1"/>
              <a:t>com</a:t>
            </a:r>
            <a:r>
              <a:rPr lang="es-ES" sz="1200" b="0"/>
              <a:t> </a:t>
            </a:r>
            <a:r>
              <a:rPr lang="es-ES" sz="1200" b="0" err="1"/>
              <a:t>nosso</a:t>
            </a:r>
            <a:r>
              <a:rPr lang="es-ES" sz="1200" b="0"/>
              <a:t> </a:t>
            </a:r>
            <a:r>
              <a:rPr lang="es-ES" sz="1200" b="0" err="1"/>
              <a:t>posicionamento</a:t>
            </a:r>
            <a:r>
              <a:rPr lang="es-ES" sz="1200" b="0"/>
              <a:t> e </a:t>
            </a:r>
            <a:r>
              <a:rPr lang="es-ES" sz="1200" b="0" err="1"/>
              <a:t>lançamento</a:t>
            </a:r>
            <a:r>
              <a:rPr lang="es-ES" sz="1200" b="0"/>
              <a:t> de 11 </a:t>
            </a:r>
            <a:r>
              <a:rPr lang="es-ES" sz="1200" b="0" err="1"/>
              <a:t>novos</a:t>
            </a:r>
            <a:r>
              <a:rPr lang="es-ES" sz="1200" b="0"/>
              <a:t>;</a:t>
            </a:r>
          </a:p>
          <a:p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8588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2119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 +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ço Reservado para Texto 21">
            <a:extLst>
              <a:ext uri="{FF2B5EF4-FFF2-40B4-BE49-F238E27FC236}">
                <a16:creationId xmlns:a16="http://schemas.microsoft.com/office/drawing/2014/main" id="{07530A44-54B1-43C8-BE2A-2C6B0E71A9B0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>
          <a:xfrm>
            <a:off x="-405459" y="-486137"/>
            <a:ext cx="12374846" cy="1647512"/>
          </a:xfrm>
          <a:prstGeom prst="roundRect">
            <a:avLst>
              <a:gd name="adj" fmla="val 24315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1" name="Espaço Reservado para Texto 21">
            <a:extLst>
              <a:ext uri="{FF2B5EF4-FFF2-40B4-BE49-F238E27FC236}">
                <a16:creationId xmlns:a16="http://schemas.microsoft.com/office/drawing/2014/main" id="{EFC9B8CD-5E51-474D-9147-1FC32E4A60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6017" y="462415"/>
            <a:ext cx="841409" cy="247041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43453CE-751A-44FA-90A4-2BBB8EEE7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121" y="574163"/>
            <a:ext cx="5110843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4800" b="1" i="0">
                <a:solidFill>
                  <a:srgbClr val="660099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5" name="Espaço Reservado para Texto 3">
            <a:extLst>
              <a:ext uri="{FF2B5EF4-FFF2-40B4-BE49-F238E27FC236}">
                <a16:creationId xmlns:a16="http://schemas.microsoft.com/office/drawing/2014/main" id="{516F9C08-2C97-4CAE-970E-7116DECAF9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7513" y="1191399"/>
            <a:ext cx="5124451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r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F6F9BB6D-C3D4-401A-ACCD-B43C7BA878F3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65163" y="1625600"/>
            <a:ext cx="5118417" cy="481171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r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pic>
        <p:nvPicPr>
          <p:cNvPr id="15" name="Imagem 14" descr="Uma imagem contendo desenho&#10;&#10;Descrição gerada automaticamente">
            <a:extLst>
              <a:ext uri="{FF2B5EF4-FFF2-40B4-BE49-F238E27FC236}">
                <a16:creationId xmlns:a16="http://schemas.microsoft.com/office/drawing/2014/main" id="{072F2D73-52AF-40CC-9836-9A075E5B67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17" name="Textfeld 26">
            <a:extLst>
              <a:ext uri="{FF2B5EF4-FFF2-40B4-BE49-F238E27FC236}">
                <a16:creationId xmlns:a16="http://schemas.microsoft.com/office/drawing/2014/main" id="{0E2C389E-079C-44A2-BE95-FA0F3FA1DFE0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55A58C10-8BF7-49A7-8DA2-5A9070A55535}"/>
              </a:ext>
            </a:extLst>
          </p:cNvPr>
          <p:cNvSpPr txBox="1"/>
          <p:nvPr userDrawn="1"/>
        </p:nvSpPr>
        <p:spPr>
          <a:xfrm>
            <a:off x="114300" y="6489373"/>
            <a:ext cx="16743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3" name="Espaço Reservado para Imagem 39">
            <a:extLst>
              <a:ext uri="{FF2B5EF4-FFF2-40B4-BE49-F238E27FC236}">
                <a16:creationId xmlns:a16="http://schemas.microsoft.com/office/drawing/2014/main" id="{9C5C6FFD-DC18-4303-91F0-8110374ABE0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08422" y="486651"/>
            <a:ext cx="4929525" cy="5884699"/>
          </a:xfrm>
          <a:prstGeom prst="roundRect">
            <a:avLst>
              <a:gd name="adj" fmla="val 13959"/>
            </a:avLst>
          </a:prstGeom>
          <a:noFill/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25" name="Espaço Reservado para Texto 21">
            <a:extLst>
              <a:ext uri="{FF2B5EF4-FFF2-40B4-BE49-F238E27FC236}">
                <a16:creationId xmlns:a16="http://schemas.microsoft.com/office/drawing/2014/main" id="{1636FE9C-AD7C-4FFB-8AB5-A829F77B8E75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11109017" y="1396670"/>
            <a:ext cx="457859" cy="457859"/>
          </a:xfrm>
          <a:prstGeom prst="ellipse">
            <a:avLst/>
          </a:prstGeom>
          <a:gradFill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6" name="Espaço Reservado para Texto 21">
            <a:extLst>
              <a:ext uri="{FF2B5EF4-FFF2-40B4-BE49-F238E27FC236}">
                <a16:creationId xmlns:a16="http://schemas.microsoft.com/office/drawing/2014/main" id="{7C7E0B4F-49B1-4AEB-984B-BD9ADC248E20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5497989" y="5538961"/>
            <a:ext cx="1674362" cy="1670234"/>
          </a:xfrm>
          <a:prstGeom prst="roundRect">
            <a:avLst>
              <a:gd name="adj" fmla="val 2352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7" name="Espaço Reservado para Texto 26">
            <a:extLst>
              <a:ext uri="{FF2B5EF4-FFF2-40B4-BE49-F238E27FC236}">
                <a16:creationId xmlns:a16="http://schemas.microsoft.com/office/drawing/2014/main" id="{31B12105-A9F6-42E3-9D7E-E96C12037CED}"/>
              </a:ext>
            </a:extLst>
          </p:cNvPr>
          <p:cNvSpPr>
            <a:spLocks noGrp="1"/>
          </p:cNvSpPr>
          <p:nvPr>
            <p:ph type="body" sz="quarter" idx="106"/>
          </p:nvPr>
        </p:nvSpPr>
        <p:spPr>
          <a:xfrm>
            <a:off x="6408423" y="5538961"/>
            <a:ext cx="763928" cy="832388"/>
          </a:xfrm>
          <a:custGeom>
            <a:avLst/>
            <a:gdLst>
              <a:gd name="connsiteX0" fmla="*/ 0 w 763928"/>
              <a:gd name="connsiteY0" fmla="*/ 0 h 832388"/>
              <a:gd name="connsiteX1" fmla="*/ 370939 w 763928"/>
              <a:gd name="connsiteY1" fmla="*/ 0 h 832388"/>
              <a:gd name="connsiteX2" fmla="*/ 763928 w 763928"/>
              <a:gd name="connsiteY2" fmla="*/ 392989 h 832388"/>
              <a:gd name="connsiteX3" fmla="*/ 763928 w 763928"/>
              <a:gd name="connsiteY3" fmla="*/ 832388 h 832388"/>
              <a:gd name="connsiteX4" fmla="*/ 684839 w 763928"/>
              <a:gd name="connsiteY4" fmla="*/ 832388 h 832388"/>
              <a:gd name="connsiteX5" fmla="*/ 0 w 763928"/>
              <a:gd name="connsiteY5" fmla="*/ 147549 h 8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3928" h="832388">
                <a:moveTo>
                  <a:pt x="0" y="0"/>
                </a:moveTo>
                <a:lnTo>
                  <a:pt x="370939" y="0"/>
                </a:lnTo>
                <a:cubicBezTo>
                  <a:pt x="587981" y="0"/>
                  <a:pt x="763928" y="175947"/>
                  <a:pt x="763928" y="392989"/>
                </a:cubicBezTo>
                <a:lnTo>
                  <a:pt x="763928" y="832388"/>
                </a:lnTo>
                <a:lnTo>
                  <a:pt x="684839" y="832388"/>
                </a:lnTo>
                <a:cubicBezTo>
                  <a:pt x="306613" y="832388"/>
                  <a:pt x="0" y="525775"/>
                  <a:pt x="0" y="147549"/>
                </a:cubicBezTo>
                <a:close/>
              </a:path>
            </a:pathLst>
          </a:cu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01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áficos +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Espaço Reservado para Texto 21">
            <a:extLst>
              <a:ext uri="{FF2B5EF4-FFF2-40B4-BE49-F238E27FC236}">
                <a16:creationId xmlns:a16="http://schemas.microsoft.com/office/drawing/2014/main" id="{BB877CBA-B027-4043-A3FD-F9CAAFBFEBC9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6157377" y="347241"/>
            <a:ext cx="5611001" cy="5324353"/>
          </a:xfrm>
          <a:prstGeom prst="roundRect">
            <a:avLst>
              <a:gd name="adj" fmla="val 5862"/>
            </a:avLst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r>
              <a:rPr lang="en-US"/>
              <a:t> </a:t>
            </a:r>
          </a:p>
        </p:txBody>
      </p:sp>
      <p:sp>
        <p:nvSpPr>
          <p:cNvPr id="35" name="Espaço Reservado para Texto 21">
            <a:extLst>
              <a:ext uri="{FF2B5EF4-FFF2-40B4-BE49-F238E27FC236}">
                <a16:creationId xmlns:a16="http://schemas.microsoft.com/office/drawing/2014/main" id="{2B5B4803-45C9-436B-8B42-E3A2FD1A3EBE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>
          <a:xfrm>
            <a:off x="11262167" y="-363270"/>
            <a:ext cx="1261777" cy="1258665"/>
          </a:xfrm>
          <a:prstGeom prst="roundRect">
            <a:avLst>
              <a:gd name="adj" fmla="val 27681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4" name="Espaço Reservado para Texto 33">
            <a:extLst>
              <a:ext uri="{FF2B5EF4-FFF2-40B4-BE49-F238E27FC236}">
                <a16:creationId xmlns:a16="http://schemas.microsoft.com/office/drawing/2014/main" id="{3BC19280-6C33-4A84-8C2C-BF25D5CFDB83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1262167" y="347241"/>
            <a:ext cx="506211" cy="548154"/>
          </a:xfrm>
          <a:custGeom>
            <a:avLst/>
            <a:gdLst>
              <a:gd name="connsiteX0" fmla="*/ 0 w 506211"/>
              <a:gd name="connsiteY0" fmla="*/ 0 h 548154"/>
              <a:gd name="connsiteX1" fmla="*/ 194097 w 506211"/>
              <a:gd name="connsiteY1" fmla="*/ 0 h 548154"/>
              <a:gd name="connsiteX2" fmla="*/ 506211 w 506211"/>
              <a:gd name="connsiteY2" fmla="*/ 312114 h 548154"/>
              <a:gd name="connsiteX3" fmla="*/ 506211 w 506211"/>
              <a:gd name="connsiteY3" fmla="*/ 548154 h 548154"/>
              <a:gd name="connsiteX4" fmla="*/ 348411 w 506211"/>
              <a:gd name="connsiteY4" fmla="*/ 548154 h 548154"/>
              <a:gd name="connsiteX5" fmla="*/ 0 w 506211"/>
              <a:gd name="connsiteY5" fmla="*/ 199743 h 54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6211" h="548154">
                <a:moveTo>
                  <a:pt x="0" y="0"/>
                </a:moveTo>
                <a:lnTo>
                  <a:pt x="194097" y="0"/>
                </a:lnTo>
                <a:cubicBezTo>
                  <a:pt x="366473" y="0"/>
                  <a:pt x="506211" y="139738"/>
                  <a:pt x="506211" y="312114"/>
                </a:cubicBezTo>
                <a:lnTo>
                  <a:pt x="506211" y="548154"/>
                </a:lnTo>
                <a:lnTo>
                  <a:pt x="348411" y="548154"/>
                </a:lnTo>
                <a:cubicBezTo>
                  <a:pt x="155989" y="548154"/>
                  <a:pt x="0" y="392165"/>
                  <a:pt x="0" y="199743"/>
                </a:cubicBezTo>
                <a:close/>
              </a:path>
            </a:pathLst>
          </a:cu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0" name="Espaço Reservado para Texto 21">
            <a:extLst>
              <a:ext uri="{FF2B5EF4-FFF2-40B4-BE49-F238E27FC236}">
                <a16:creationId xmlns:a16="http://schemas.microsoft.com/office/drawing/2014/main" id="{446E01F8-92E7-44AE-9C29-26B689E70B8C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346887" y="347241"/>
            <a:ext cx="5611001" cy="5324353"/>
          </a:xfrm>
          <a:prstGeom prst="roundRect">
            <a:avLst>
              <a:gd name="adj" fmla="val 5862"/>
            </a:avLst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r>
              <a:rPr lang="en-US"/>
              <a:t> </a:t>
            </a:r>
          </a:p>
        </p:txBody>
      </p:sp>
      <p:sp>
        <p:nvSpPr>
          <p:cNvPr id="3" name="Espaço Reservado para Imagem 39">
            <a:extLst>
              <a:ext uri="{FF2B5EF4-FFF2-40B4-BE49-F238E27FC236}">
                <a16:creationId xmlns:a16="http://schemas.microsoft.com/office/drawing/2014/main" id="{C0753624-816D-42D6-9B90-98DAA916E66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-671332" y="4419600"/>
            <a:ext cx="12644257" cy="1724271"/>
          </a:xfrm>
          <a:prstGeom prst="roundRect">
            <a:avLst>
              <a:gd name="adj" fmla="val 33449"/>
            </a:avLst>
          </a:prstGeom>
          <a:noFill/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endParaRPr lang="pt-BR"/>
          </a:p>
          <a:p>
            <a:endParaRPr lang="pt-BR"/>
          </a:p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F6F9BB6D-C3D4-401A-ACCD-B43C7BA878F3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429547" y="482601"/>
            <a:ext cx="5449887" cy="3365500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sp>
        <p:nvSpPr>
          <p:cNvPr id="14" name="Espaço Reservado para Texto 21">
            <a:extLst>
              <a:ext uri="{FF2B5EF4-FFF2-40B4-BE49-F238E27FC236}">
                <a16:creationId xmlns:a16="http://schemas.microsoft.com/office/drawing/2014/main" id="{9C1A9FAC-2174-47FC-9DE1-FDBBE3ED40B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10800000" flipV="1">
            <a:off x="5324353" y="4057650"/>
            <a:ext cx="6391393" cy="1087377"/>
          </a:xfrm>
          <a:prstGeom prst="roundRect">
            <a:avLst>
              <a:gd name="adj" fmla="val 25182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43453CE-751A-44FA-90A4-2BBB8EEE7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8971" y="4155563"/>
            <a:ext cx="5110843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5" name="Espaço Reservado para Texto 3">
            <a:extLst>
              <a:ext uri="{FF2B5EF4-FFF2-40B4-BE49-F238E27FC236}">
                <a16:creationId xmlns:a16="http://schemas.microsoft.com/office/drawing/2014/main" id="{516F9C08-2C97-4CAE-970E-7116DECAF9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5363" y="4772799"/>
            <a:ext cx="5124451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r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15" name="Espaço Reservado para Conteúdo 11">
            <a:extLst>
              <a:ext uri="{FF2B5EF4-FFF2-40B4-BE49-F238E27FC236}">
                <a16:creationId xmlns:a16="http://schemas.microsoft.com/office/drawing/2014/main" id="{F27F7FB8-C164-45C2-B9E3-C5B49F93737E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6234113" y="482601"/>
            <a:ext cx="5449887" cy="3365500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pic>
        <p:nvPicPr>
          <p:cNvPr id="18" name="Imagem 17" descr="Uma imagem contendo desenho&#10;&#10;Descrição gerada automaticamente">
            <a:extLst>
              <a:ext uri="{FF2B5EF4-FFF2-40B4-BE49-F238E27FC236}">
                <a16:creationId xmlns:a16="http://schemas.microsoft.com/office/drawing/2014/main" id="{31B4F258-D7E7-47C4-9030-33ED174EB1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20" name="Textfeld 26">
            <a:extLst>
              <a:ext uri="{FF2B5EF4-FFF2-40B4-BE49-F238E27FC236}">
                <a16:creationId xmlns:a16="http://schemas.microsoft.com/office/drawing/2014/main" id="{870DF6B0-4560-47AA-A25B-7E20BFD511C4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5CFD74E6-E6F6-4BBA-A164-A08007DD2216}"/>
              </a:ext>
            </a:extLst>
          </p:cNvPr>
          <p:cNvSpPr txBox="1"/>
          <p:nvPr userDrawn="1"/>
        </p:nvSpPr>
        <p:spPr>
          <a:xfrm>
            <a:off x="114300" y="6489373"/>
            <a:ext cx="17907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6" name="Espaço Reservado para Texto 21">
            <a:extLst>
              <a:ext uri="{FF2B5EF4-FFF2-40B4-BE49-F238E27FC236}">
                <a16:creationId xmlns:a16="http://schemas.microsoft.com/office/drawing/2014/main" id="{E305FBDB-0CB9-48EA-B764-5445C11555C1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1332393" y="5935631"/>
            <a:ext cx="472277" cy="472277"/>
          </a:xfrm>
          <a:prstGeom prst="ellipse">
            <a:avLst/>
          </a:prstGeom>
          <a:gradFill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6587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+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9A69B7B4-321C-42EA-B32F-7F7F74D59001}"/>
              </a:ext>
            </a:extLst>
          </p:cNvPr>
          <p:cNvSpPr/>
          <p:nvPr userDrawn="1"/>
        </p:nvSpPr>
        <p:spPr>
          <a:xfrm>
            <a:off x="4982472" y="0"/>
            <a:ext cx="7209528" cy="3331312"/>
          </a:xfrm>
          <a:custGeom>
            <a:avLst/>
            <a:gdLst>
              <a:gd name="connsiteX0" fmla="*/ 439 w 7209528"/>
              <a:gd name="connsiteY0" fmla="*/ 0 h 3331312"/>
              <a:gd name="connsiteX1" fmla="*/ 7209528 w 7209528"/>
              <a:gd name="connsiteY1" fmla="*/ 0 h 3331312"/>
              <a:gd name="connsiteX2" fmla="*/ 7209528 w 7209528"/>
              <a:gd name="connsiteY2" fmla="*/ 3331312 h 3331312"/>
              <a:gd name="connsiteX3" fmla="*/ 7081392 w 7209528"/>
              <a:gd name="connsiteY3" fmla="*/ 3235367 h 3331312"/>
              <a:gd name="connsiteX4" fmla="*/ 3282944 w 7209528"/>
              <a:gd name="connsiteY4" fmla="*/ 2522119 h 3331312"/>
              <a:gd name="connsiteX5" fmla="*/ 0 w 7209528"/>
              <a:gd name="connsiteY5" fmla="*/ 80921 h 3331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09528" h="3331312">
                <a:moveTo>
                  <a:pt x="439" y="0"/>
                </a:moveTo>
                <a:lnTo>
                  <a:pt x="7209528" y="0"/>
                </a:lnTo>
                <a:lnTo>
                  <a:pt x="7209528" y="3331312"/>
                </a:lnTo>
                <a:lnTo>
                  <a:pt x="7081392" y="3235367"/>
                </a:lnTo>
                <a:cubicBezTo>
                  <a:pt x="6345472" y="2712263"/>
                  <a:pt x="5327101" y="2363602"/>
                  <a:pt x="3282944" y="2522119"/>
                </a:cubicBezTo>
                <a:cubicBezTo>
                  <a:pt x="1081934" y="2692936"/>
                  <a:pt x="60333" y="1527915"/>
                  <a:pt x="0" y="80921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3" name="Espaço Reservado para Imagem 39">
            <a:extLst>
              <a:ext uri="{FF2B5EF4-FFF2-40B4-BE49-F238E27FC236}">
                <a16:creationId xmlns:a16="http://schemas.microsoft.com/office/drawing/2014/main" id="{C0753624-816D-42D6-9B90-98DAA916E66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11944" y="1028699"/>
            <a:ext cx="11521814" cy="2209800"/>
          </a:xfrm>
          <a:prstGeom prst="roundRect">
            <a:avLst>
              <a:gd name="adj" fmla="val 25047"/>
            </a:avLst>
          </a:prstGeom>
          <a:solidFill>
            <a:schemeClr val="bg2">
              <a:lumMod val="8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20" name="Espaço Reservado para Texto 21">
            <a:extLst>
              <a:ext uri="{FF2B5EF4-FFF2-40B4-BE49-F238E27FC236}">
                <a16:creationId xmlns:a16="http://schemas.microsoft.com/office/drawing/2014/main" id="{00E4F619-A2A7-4982-9CBB-B662E8ECC77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10800000" flipV="1">
            <a:off x="438147" y="333181"/>
            <a:ext cx="6391393" cy="1087377"/>
          </a:xfrm>
          <a:prstGeom prst="roundRect">
            <a:avLst>
              <a:gd name="adj" fmla="val 25182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43453CE-751A-44FA-90A4-2BBB8EEE7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4363" y="434462"/>
            <a:ext cx="5110843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5" name="Espaço Reservado para Texto 3">
            <a:extLst>
              <a:ext uri="{FF2B5EF4-FFF2-40B4-BE49-F238E27FC236}">
                <a16:creationId xmlns:a16="http://schemas.microsoft.com/office/drawing/2014/main" id="{516F9C08-2C97-4CAE-970E-7116DECAF9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4363" y="1051698"/>
            <a:ext cx="5124451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31" name="Espaço Reservado para Tabela 30">
            <a:extLst>
              <a:ext uri="{FF2B5EF4-FFF2-40B4-BE49-F238E27FC236}">
                <a16:creationId xmlns:a16="http://schemas.microsoft.com/office/drawing/2014/main" id="{9BE56A68-23E0-49F1-98AC-0E307EEA267C}"/>
              </a:ext>
            </a:extLst>
          </p:cNvPr>
          <p:cNvSpPr>
            <a:spLocks noGrp="1"/>
          </p:cNvSpPr>
          <p:nvPr>
            <p:ph type="tbl" sz="quarter" idx="40" hasCustomPrompt="1"/>
          </p:nvPr>
        </p:nvSpPr>
        <p:spPr>
          <a:xfrm>
            <a:off x="438147" y="3440113"/>
            <a:ext cx="11395610" cy="25902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pt-BR"/>
              <a:t>CLIQUE  NO ÍCONE PARA INSERIR TABELA</a:t>
            </a:r>
          </a:p>
          <a:p>
            <a:endParaRPr lang="pt-BR"/>
          </a:p>
        </p:txBody>
      </p:sp>
      <p:pic>
        <p:nvPicPr>
          <p:cNvPr id="13" name="Imagem 12" descr="Uma imagem contendo desenho&#10;&#10;Descrição gerada automaticamente">
            <a:extLst>
              <a:ext uri="{FF2B5EF4-FFF2-40B4-BE49-F238E27FC236}">
                <a16:creationId xmlns:a16="http://schemas.microsoft.com/office/drawing/2014/main" id="{F4689F5C-B78B-485A-AA80-66E512BAA0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17" name="Textfeld 26">
            <a:extLst>
              <a:ext uri="{FF2B5EF4-FFF2-40B4-BE49-F238E27FC236}">
                <a16:creationId xmlns:a16="http://schemas.microsoft.com/office/drawing/2014/main" id="{77537B8A-D1F1-47B3-B233-4A47F4174363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C218021F-0903-4972-9905-65E714F8195A}"/>
              </a:ext>
            </a:extLst>
          </p:cNvPr>
          <p:cNvSpPr txBox="1"/>
          <p:nvPr userDrawn="1"/>
        </p:nvSpPr>
        <p:spPr>
          <a:xfrm>
            <a:off x="114300" y="6489373"/>
            <a:ext cx="16709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4" name="Espaço Reservado para Texto 21">
            <a:extLst>
              <a:ext uri="{FF2B5EF4-FFF2-40B4-BE49-F238E27FC236}">
                <a16:creationId xmlns:a16="http://schemas.microsoft.com/office/drawing/2014/main" id="{4D6E149C-ED9B-4B1F-9237-548D542E3BE2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10675804" y="774982"/>
            <a:ext cx="574678" cy="574678"/>
          </a:xfrm>
          <a:prstGeom prst="ellipse">
            <a:avLst/>
          </a:prstGeom>
          <a:gradFill>
            <a:gsLst>
              <a:gs pos="0">
                <a:srgbClr val="FF9900"/>
              </a:gs>
              <a:gs pos="70000">
                <a:srgbClr val="FA6423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3392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ço Reservado para Texto 21">
            <a:extLst>
              <a:ext uri="{FF2B5EF4-FFF2-40B4-BE49-F238E27FC236}">
                <a16:creationId xmlns:a16="http://schemas.microsoft.com/office/drawing/2014/main" id="{944966CB-4F70-46A0-A067-CAFF4F4D3184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>
          <a:xfrm>
            <a:off x="-405459" y="-19327"/>
            <a:ext cx="12374846" cy="1180702"/>
          </a:xfrm>
          <a:prstGeom prst="roundRect">
            <a:avLst>
              <a:gd name="adj" fmla="val 24315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4" name="Espaço Reservado para Texto 21">
            <a:extLst>
              <a:ext uri="{FF2B5EF4-FFF2-40B4-BE49-F238E27FC236}">
                <a16:creationId xmlns:a16="http://schemas.microsoft.com/office/drawing/2014/main" id="{2CC3F431-B1FE-48F4-AB66-59151172AB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300" y="462415"/>
            <a:ext cx="841409" cy="247041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12" name="Espaço Reservado para Conteúdo 11">
            <a:extLst>
              <a:ext uri="{FF2B5EF4-FFF2-40B4-BE49-F238E27FC236}">
                <a16:creationId xmlns:a16="http://schemas.microsoft.com/office/drawing/2014/main" id="{F6F9BB6D-C3D4-401A-ACCD-B43C7BA878F3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366713" y="1232311"/>
            <a:ext cx="5449887" cy="262439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sp>
        <p:nvSpPr>
          <p:cNvPr id="15" name="Espaço Reservado para Conteúdo 11">
            <a:extLst>
              <a:ext uri="{FF2B5EF4-FFF2-40B4-BE49-F238E27FC236}">
                <a16:creationId xmlns:a16="http://schemas.microsoft.com/office/drawing/2014/main" id="{F27F7FB8-C164-45C2-B9E3-C5B49F93737E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6081713" y="1232311"/>
            <a:ext cx="5449887" cy="262439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sp>
        <p:nvSpPr>
          <p:cNvPr id="17" name="Espaço Reservado para Conteúdo 11">
            <a:extLst>
              <a:ext uri="{FF2B5EF4-FFF2-40B4-BE49-F238E27FC236}">
                <a16:creationId xmlns:a16="http://schemas.microsoft.com/office/drawing/2014/main" id="{364570AB-F028-4283-902D-4B1373CD1568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366713" y="4005007"/>
            <a:ext cx="5449887" cy="262439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sp>
        <p:nvSpPr>
          <p:cNvPr id="18" name="Espaço Reservado para Conteúdo 11">
            <a:extLst>
              <a:ext uri="{FF2B5EF4-FFF2-40B4-BE49-F238E27FC236}">
                <a16:creationId xmlns:a16="http://schemas.microsoft.com/office/drawing/2014/main" id="{4AB8C846-5478-4256-9766-F219DA16C56E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6081713" y="4005007"/>
            <a:ext cx="5449887" cy="262439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sp>
        <p:nvSpPr>
          <p:cNvPr id="27" name="Espaço Reservado para Texto 3">
            <a:extLst>
              <a:ext uri="{FF2B5EF4-FFF2-40B4-BE49-F238E27FC236}">
                <a16:creationId xmlns:a16="http://schemas.microsoft.com/office/drawing/2014/main" id="{E39D2D80-8E74-4AD4-8848-0693A5F5CC5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84949" y="732552"/>
            <a:ext cx="1810823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31" name="Título 1">
            <a:extLst>
              <a:ext uri="{FF2B5EF4-FFF2-40B4-BE49-F238E27FC236}">
                <a16:creationId xmlns:a16="http://schemas.microsoft.com/office/drawing/2014/main" id="{6A27D834-E4B5-4C1A-AA7B-31912C5B4E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147" y="483480"/>
            <a:ext cx="5110843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rgbClr val="660099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pic>
        <p:nvPicPr>
          <p:cNvPr id="20" name="Imagem 19" descr="Uma imagem contendo desenho&#10;&#10;Descrição gerada automaticamente">
            <a:extLst>
              <a:ext uri="{FF2B5EF4-FFF2-40B4-BE49-F238E27FC236}">
                <a16:creationId xmlns:a16="http://schemas.microsoft.com/office/drawing/2014/main" id="{1A71819E-2877-4CD8-9385-A023023A1F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19" name="Textfeld 26">
            <a:extLst>
              <a:ext uri="{FF2B5EF4-FFF2-40B4-BE49-F238E27FC236}">
                <a16:creationId xmlns:a16="http://schemas.microsoft.com/office/drawing/2014/main" id="{9687D560-3014-4043-A5E0-0CD7D4442F8F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E4B9ECD9-E5F8-40E4-A9B3-355363519628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3" name="Espaço Reservado para Texto 21">
            <a:extLst>
              <a:ext uri="{FF2B5EF4-FFF2-40B4-BE49-F238E27FC236}">
                <a16:creationId xmlns:a16="http://schemas.microsoft.com/office/drawing/2014/main" id="{5FF6B299-5CBE-48C9-9AD7-A05392FE57B3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>
          <a:xfrm>
            <a:off x="11450702" y="-729838"/>
            <a:ext cx="1261777" cy="1258665"/>
          </a:xfrm>
          <a:prstGeom prst="roundRect">
            <a:avLst>
              <a:gd name="adj" fmla="val 27681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4" name="Espaço Reservado para Texto 33">
            <a:extLst>
              <a:ext uri="{FF2B5EF4-FFF2-40B4-BE49-F238E27FC236}">
                <a16:creationId xmlns:a16="http://schemas.microsoft.com/office/drawing/2014/main" id="{647145AB-4505-47B5-9C29-A101246A65C5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1450702" y="-19327"/>
            <a:ext cx="506211" cy="548154"/>
          </a:xfrm>
          <a:custGeom>
            <a:avLst/>
            <a:gdLst>
              <a:gd name="connsiteX0" fmla="*/ 0 w 506211"/>
              <a:gd name="connsiteY0" fmla="*/ 0 h 548154"/>
              <a:gd name="connsiteX1" fmla="*/ 194097 w 506211"/>
              <a:gd name="connsiteY1" fmla="*/ 0 h 548154"/>
              <a:gd name="connsiteX2" fmla="*/ 506211 w 506211"/>
              <a:gd name="connsiteY2" fmla="*/ 312114 h 548154"/>
              <a:gd name="connsiteX3" fmla="*/ 506211 w 506211"/>
              <a:gd name="connsiteY3" fmla="*/ 548154 h 548154"/>
              <a:gd name="connsiteX4" fmla="*/ 348411 w 506211"/>
              <a:gd name="connsiteY4" fmla="*/ 548154 h 548154"/>
              <a:gd name="connsiteX5" fmla="*/ 0 w 506211"/>
              <a:gd name="connsiteY5" fmla="*/ 199743 h 54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6211" h="548154">
                <a:moveTo>
                  <a:pt x="0" y="0"/>
                </a:moveTo>
                <a:lnTo>
                  <a:pt x="194097" y="0"/>
                </a:lnTo>
                <a:cubicBezTo>
                  <a:pt x="366473" y="0"/>
                  <a:pt x="506211" y="139738"/>
                  <a:pt x="506211" y="312114"/>
                </a:cubicBezTo>
                <a:lnTo>
                  <a:pt x="506211" y="548154"/>
                </a:lnTo>
                <a:lnTo>
                  <a:pt x="348411" y="548154"/>
                </a:lnTo>
                <a:cubicBezTo>
                  <a:pt x="155989" y="548154"/>
                  <a:pt x="0" y="392165"/>
                  <a:pt x="0" y="199743"/>
                </a:cubicBezTo>
                <a:close/>
              </a:path>
            </a:pathLst>
          </a:cu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084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+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a Livre: Forma 32">
            <a:extLst>
              <a:ext uri="{FF2B5EF4-FFF2-40B4-BE49-F238E27FC236}">
                <a16:creationId xmlns:a16="http://schemas.microsoft.com/office/drawing/2014/main" id="{AA075ADC-6E64-4DE2-9E2E-780342B5F100}"/>
              </a:ext>
            </a:extLst>
          </p:cNvPr>
          <p:cNvSpPr/>
          <p:nvPr userDrawn="1"/>
        </p:nvSpPr>
        <p:spPr>
          <a:xfrm>
            <a:off x="0" y="0"/>
            <a:ext cx="7729629" cy="6858000"/>
          </a:xfrm>
          <a:custGeom>
            <a:avLst/>
            <a:gdLst>
              <a:gd name="connsiteX0" fmla="*/ 1064205 w 7729629"/>
              <a:gd name="connsiteY0" fmla="*/ 0 h 6858000"/>
              <a:gd name="connsiteX1" fmla="*/ 6081268 w 7729629"/>
              <a:gd name="connsiteY1" fmla="*/ 0 h 6858000"/>
              <a:gd name="connsiteX2" fmla="*/ 6125628 w 7729629"/>
              <a:gd name="connsiteY2" fmla="*/ 161009 h 6858000"/>
              <a:gd name="connsiteX3" fmla="*/ 6144077 w 7729629"/>
              <a:gd name="connsiteY3" fmla="*/ 1463025 h 6858000"/>
              <a:gd name="connsiteX4" fmla="*/ 6625681 w 7729629"/>
              <a:gd name="connsiteY4" fmla="*/ 5222313 h 6858000"/>
              <a:gd name="connsiteX5" fmla="*/ 7696693 w 7729629"/>
              <a:gd name="connsiteY5" fmla="*/ 6751547 h 6858000"/>
              <a:gd name="connsiteX6" fmla="*/ 7729629 w 7729629"/>
              <a:gd name="connsiteY6" fmla="*/ 6858000 h 6858000"/>
              <a:gd name="connsiteX7" fmla="*/ 0 w 7729629"/>
              <a:gd name="connsiteY7" fmla="*/ 6858000 h 6858000"/>
              <a:gd name="connsiteX8" fmla="*/ 0 w 7729629"/>
              <a:gd name="connsiteY8" fmla="*/ 1140830 h 6858000"/>
              <a:gd name="connsiteX9" fmla="*/ 97689 w 7729629"/>
              <a:gd name="connsiteY9" fmla="*/ 1054028 h 6858000"/>
              <a:gd name="connsiteX10" fmla="*/ 1015312 w 7729629"/>
              <a:gd name="connsiteY10" fmla="*/ 5964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29629" h="6858000">
                <a:moveTo>
                  <a:pt x="1064205" y="0"/>
                </a:moveTo>
                <a:lnTo>
                  <a:pt x="6081268" y="0"/>
                </a:lnTo>
                <a:lnTo>
                  <a:pt x="6125628" y="161009"/>
                </a:lnTo>
                <a:cubicBezTo>
                  <a:pt x="6216212" y="567255"/>
                  <a:pt x="6213282" y="1012556"/>
                  <a:pt x="6144077" y="1463025"/>
                </a:cubicBezTo>
                <a:cubicBezTo>
                  <a:pt x="6010362" y="2334675"/>
                  <a:pt x="5308036" y="4096481"/>
                  <a:pt x="6625681" y="5222313"/>
                </a:cubicBezTo>
                <a:cubicBezTo>
                  <a:pt x="7155427" y="5674957"/>
                  <a:pt x="7503249" y="6200353"/>
                  <a:pt x="7696693" y="6751547"/>
                </a:cubicBezTo>
                <a:lnTo>
                  <a:pt x="7729629" y="6858000"/>
                </a:lnTo>
                <a:lnTo>
                  <a:pt x="0" y="6858000"/>
                </a:lnTo>
                <a:lnTo>
                  <a:pt x="0" y="1140830"/>
                </a:lnTo>
                <a:lnTo>
                  <a:pt x="97689" y="1054028"/>
                </a:lnTo>
                <a:cubicBezTo>
                  <a:pt x="463097" y="719762"/>
                  <a:pt x="752144" y="379652"/>
                  <a:pt x="1015312" y="59646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41" name="Espaço Reservado para Texto 21">
            <a:extLst>
              <a:ext uri="{FF2B5EF4-FFF2-40B4-BE49-F238E27FC236}">
                <a16:creationId xmlns:a16="http://schemas.microsoft.com/office/drawing/2014/main" id="{1D76C5DC-A792-426F-88BA-CD0BA7A38D1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10800000" flipV="1">
            <a:off x="-335667" y="1720997"/>
            <a:ext cx="6008410" cy="1087377"/>
          </a:xfrm>
          <a:prstGeom prst="roundRect">
            <a:avLst>
              <a:gd name="adj" fmla="val 25182"/>
            </a:avLst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8100000" scaled="1"/>
            <a:tileRect/>
          </a:gra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25" name="Espaço Reservado para Texto 21">
            <a:extLst>
              <a:ext uri="{FF2B5EF4-FFF2-40B4-BE49-F238E27FC236}">
                <a16:creationId xmlns:a16="http://schemas.microsoft.com/office/drawing/2014/main" id="{111BFDA3-6773-4178-B78D-0968C5C58AB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2942" y="2748681"/>
            <a:ext cx="643173" cy="149405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18" name="Espaço Reservado para Conteúdo 11">
            <a:extLst>
              <a:ext uri="{FF2B5EF4-FFF2-40B4-BE49-F238E27FC236}">
                <a16:creationId xmlns:a16="http://schemas.microsoft.com/office/drawing/2014/main" id="{4AB8C846-5478-4256-9766-F219DA16C56E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6329819" y="615950"/>
            <a:ext cx="5252581" cy="5281833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pt-BR"/>
              <a:t>CLIQUE  NO ÍCONE PARA INSERIR GRÁFICO OU CONTEÚDO</a:t>
            </a:r>
          </a:p>
        </p:txBody>
      </p:sp>
      <p:sp>
        <p:nvSpPr>
          <p:cNvPr id="27" name="Espaço Reservado para Texto 3">
            <a:extLst>
              <a:ext uri="{FF2B5EF4-FFF2-40B4-BE49-F238E27FC236}">
                <a16:creationId xmlns:a16="http://schemas.microsoft.com/office/drawing/2014/main" id="{E39D2D80-8E74-4AD4-8848-0693A5F5CC5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5738" y="2434352"/>
            <a:ext cx="4832262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16" name="Espaço Reservado para Texto 3">
            <a:extLst>
              <a:ext uri="{FF2B5EF4-FFF2-40B4-BE49-F238E27FC236}">
                <a16:creationId xmlns:a16="http://schemas.microsoft.com/office/drawing/2014/main" id="{8505C5C3-AB22-4B14-B625-A847D23D1C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4529" y="3168664"/>
            <a:ext cx="2466671" cy="2600130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21" name="Título 1">
            <a:extLst>
              <a:ext uri="{FF2B5EF4-FFF2-40B4-BE49-F238E27FC236}">
                <a16:creationId xmlns:a16="http://schemas.microsoft.com/office/drawing/2014/main" id="{DAEDA10A-6C5D-4C1A-9552-08981FA0D5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8875" y="1836291"/>
            <a:ext cx="4855207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23" name="Espaço Reservado para Texto 3">
            <a:extLst>
              <a:ext uri="{FF2B5EF4-FFF2-40B4-BE49-F238E27FC236}">
                <a16:creationId xmlns:a16="http://schemas.microsoft.com/office/drawing/2014/main" id="{23196781-34E3-4876-811F-99BD9B2507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32201" y="3776522"/>
            <a:ext cx="1806271" cy="199227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174625" indent="-174625" algn="l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>
                <a:srgbClr val="FF9900"/>
              </a:buClr>
              <a:buFont typeface="Arial" panose="020B0604020202020204" pitchFamily="34" charset="0"/>
              <a:buChar char="_"/>
              <a:defRPr sz="14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</a:t>
            </a:r>
          </a:p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</a:t>
            </a:r>
          </a:p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</a:t>
            </a:r>
          </a:p>
        </p:txBody>
      </p:sp>
      <p:pic>
        <p:nvPicPr>
          <p:cNvPr id="17" name="Imagem 16" descr="Uma imagem contendo desenho&#10;&#10;Descrição gerada automaticamente">
            <a:extLst>
              <a:ext uri="{FF2B5EF4-FFF2-40B4-BE49-F238E27FC236}">
                <a16:creationId xmlns:a16="http://schemas.microsoft.com/office/drawing/2014/main" id="{B84D3CC2-B03F-4F0A-8154-306E328ED1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19" name="Textfeld 26">
            <a:extLst>
              <a:ext uri="{FF2B5EF4-FFF2-40B4-BE49-F238E27FC236}">
                <a16:creationId xmlns:a16="http://schemas.microsoft.com/office/drawing/2014/main" id="{05BC267D-C0DA-4A28-B89E-A55F3DED35EB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chemeClr val="bg1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chemeClr val="bg1"/>
              </a:solidFill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E8A6216-5B7D-437B-AB7F-5CF04F37C3FC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Espaço Reservado para Texto 21">
            <a:extLst>
              <a:ext uri="{FF2B5EF4-FFF2-40B4-BE49-F238E27FC236}">
                <a16:creationId xmlns:a16="http://schemas.microsoft.com/office/drawing/2014/main" id="{B18C97DB-9EE3-43D2-83B9-348290B5A7E5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5976397" y="143015"/>
            <a:ext cx="486569" cy="486569"/>
          </a:xfrm>
          <a:prstGeom prst="ellipse">
            <a:avLst/>
          </a:prstGeom>
          <a:gradFill>
            <a:gsLst>
              <a:gs pos="0">
                <a:srgbClr val="FA6423"/>
              </a:gs>
              <a:gs pos="70000">
                <a:srgbClr val="FF9900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474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ha do Tempo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Espaço Reservado para Imagem 39">
            <a:extLst>
              <a:ext uri="{FF2B5EF4-FFF2-40B4-BE49-F238E27FC236}">
                <a16:creationId xmlns:a16="http://schemas.microsoft.com/office/drawing/2014/main" id="{195A2C12-DFEF-4A72-A58C-61C77DAB006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-601885" y="168253"/>
            <a:ext cx="10891779" cy="1990126"/>
          </a:xfrm>
          <a:prstGeom prst="roundRect">
            <a:avLst>
              <a:gd name="adj" fmla="val 25020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endParaRPr lang="pt-BR"/>
          </a:p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62" name="Espaço Reservado para Texto 21">
            <a:extLst>
              <a:ext uri="{FF2B5EF4-FFF2-40B4-BE49-F238E27FC236}">
                <a16:creationId xmlns:a16="http://schemas.microsoft.com/office/drawing/2014/main" id="{89B3179E-08AC-41DA-ACE3-CFFEB813B8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0800000" flipV="1">
            <a:off x="4078916" y="1426016"/>
            <a:ext cx="5840588" cy="859773"/>
          </a:xfrm>
          <a:prstGeom prst="roundRect">
            <a:avLst>
              <a:gd name="adj" fmla="val 27437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>
              <a:defRPr lang="en-US" sz="1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54" name="Espaço Reservado para Texto 21">
            <a:extLst>
              <a:ext uri="{FF2B5EF4-FFF2-40B4-BE49-F238E27FC236}">
                <a16:creationId xmlns:a16="http://schemas.microsoft.com/office/drawing/2014/main" id="{1E0DB67D-AA2D-4577-93BA-02EEFD1A4B4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 rot="10800000">
            <a:off x="-41419" y="3713883"/>
            <a:ext cx="11592000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EE9A7A5-68EC-4329-A3BA-567ABD4415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4791" y="4702247"/>
            <a:ext cx="1909445" cy="106989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13" name="Espaço Reservado para Texto 3">
            <a:extLst>
              <a:ext uri="{FF2B5EF4-FFF2-40B4-BE49-F238E27FC236}">
                <a16:creationId xmlns:a16="http://schemas.microsoft.com/office/drawing/2014/main" id="{4B7AE241-B19C-4DB9-AF10-871724042E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739" y="2947623"/>
            <a:ext cx="1988201" cy="7375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48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24" name="Espaço Reservado para Texto 3">
            <a:extLst>
              <a:ext uri="{FF2B5EF4-FFF2-40B4-BE49-F238E27FC236}">
                <a16:creationId xmlns:a16="http://schemas.microsoft.com/office/drawing/2014/main" id="{B817C0C9-62CF-4529-8F19-F70C48D5C1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4116" y="4702247"/>
            <a:ext cx="1909445" cy="106989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27" name="Espaço Reservado para Texto 3">
            <a:extLst>
              <a:ext uri="{FF2B5EF4-FFF2-40B4-BE49-F238E27FC236}">
                <a16:creationId xmlns:a16="http://schemas.microsoft.com/office/drawing/2014/main" id="{5EEF6872-FB60-46EB-B8B1-541834D481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12491" y="4702247"/>
            <a:ext cx="1909445" cy="106989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D85A05FC-E024-416B-81CA-8AF0BBF713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60391" y="4702247"/>
            <a:ext cx="1909445" cy="106989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33" name="Espaço Reservado para Texto 3">
            <a:extLst>
              <a:ext uri="{FF2B5EF4-FFF2-40B4-BE49-F238E27FC236}">
                <a16:creationId xmlns:a16="http://schemas.microsoft.com/office/drawing/2014/main" id="{E9E2D111-F193-4E09-8927-BBCF42F1C0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79716" y="4702247"/>
            <a:ext cx="1909445" cy="106989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41" name="Espaço Reservado para Texto 3">
            <a:extLst>
              <a:ext uri="{FF2B5EF4-FFF2-40B4-BE49-F238E27FC236}">
                <a16:creationId xmlns:a16="http://schemas.microsoft.com/office/drawing/2014/main" id="{31ECD18E-D5A3-4BE6-B4CD-D37E36D3E3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4791" y="4252302"/>
            <a:ext cx="1909445" cy="2666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400" b="1" spc="0" baseline="0">
                <a:solidFill>
                  <a:srgbClr val="66009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ÍTULO DO TÓPICO </a:t>
            </a:r>
          </a:p>
        </p:txBody>
      </p:sp>
      <p:sp>
        <p:nvSpPr>
          <p:cNvPr id="46" name="Espaço Reservado para Texto 3">
            <a:extLst>
              <a:ext uri="{FF2B5EF4-FFF2-40B4-BE49-F238E27FC236}">
                <a16:creationId xmlns:a16="http://schemas.microsoft.com/office/drawing/2014/main" id="{45E83089-FBB6-429A-AA56-B0B55030716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74116" y="4252302"/>
            <a:ext cx="1909445" cy="2666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400" b="1" spc="0" baseline="0">
                <a:solidFill>
                  <a:srgbClr val="66009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ÍTULO DO TÓPICO </a:t>
            </a:r>
          </a:p>
        </p:txBody>
      </p:sp>
      <p:sp>
        <p:nvSpPr>
          <p:cNvPr id="47" name="Espaço Reservado para Texto 3">
            <a:extLst>
              <a:ext uri="{FF2B5EF4-FFF2-40B4-BE49-F238E27FC236}">
                <a16:creationId xmlns:a16="http://schemas.microsoft.com/office/drawing/2014/main" id="{2E0E4335-FAA7-4B2B-9BE7-3262913A329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12491" y="4252302"/>
            <a:ext cx="1909445" cy="2666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400" b="1" spc="0" baseline="0">
                <a:solidFill>
                  <a:srgbClr val="66009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ÍTULO DO TÓPICO </a:t>
            </a:r>
          </a:p>
        </p:txBody>
      </p:sp>
      <p:sp>
        <p:nvSpPr>
          <p:cNvPr id="48" name="Espaço Reservado para Texto 3">
            <a:extLst>
              <a:ext uri="{FF2B5EF4-FFF2-40B4-BE49-F238E27FC236}">
                <a16:creationId xmlns:a16="http://schemas.microsoft.com/office/drawing/2014/main" id="{C2DF0E65-AE2E-429F-BE7A-AB440483AB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60391" y="4252302"/>
            <a:ext cx="1909445" cy="2666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400" b="1" spc="0" baseline="0">
                <a:solidFill>
                  <a:srgbClr val="66009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ÍTULO DO TÓPICO </a:t>
            </a:r>
          </a:p>
        </p:txBody>
      </p:sp>
      <p:sp>
        <p:nvSpPr>
          <p:cNvPr id="49" name="Espaço Reservado para Texto 3">
            <a:extLst>
              <a:ext uri="{FF2B5EF4-FFF2-40B4-BE49-F238E27FC236}">
                <a16:creationId xmlns:a16="http://schemas.microsoft.com/office/drawing/2014/main" id="{2AD65C9B-87A2-4FDE-BF92-A47E562AEF4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79716" y="4252302"/>
            <a:ext cx="1909445" cy="2666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400" b="1" spc="0" baseline="0">
                <a:solidFill>
                  <a:srgbClr val="66009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ÍTULO DO TÓPICO </a:t>
            </a:r>
          </a:p>
        </p:txBody>
      </p:sp>
      <p:sp>
        <p:nvSpPr>
          <p:cNvPr id="50" name="Espaço Reservado para Texto 3">
            <a:extLst>
              <a:ext uri="{FF2B5EF4-FFF2-40B4-BE49-F238E27FC236}">
                <a16:creationId xmlns:a16="http://schemas.microsoft.com/office/drawing/2014/main" id="{B60B8324-1E0B-444D-91B6-D684F387211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846846" y="2947623"/>
            <a:ext cx="1988201" cy="7375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48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51" name="Espaço Reservado para Texto 3">
            <a:extLst>
              <a:ext uri="{FF2B5EF4-FFF2-40B4-BE49-F238E27FC236}">
                <a16:creationId xmlns:a16="http://schemas.microsoft.com/office/drawing/2014/main" id="{15DBBE1F-6158-48D2-AD1F-D1435FB2D83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14057" y="2947623"/>
            <a:ext cx="1988201" cy="7375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48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52" name="Espaço Reservado para Texto 3">
            <a:extLst>
              <a:ext uri="{FF2B5EF4-FFF2-40B4-BE49-F238E27FC236}">
                <a16:creationId xmlns:a16="http://schemas.microsoft.com/office/drawing/2014/main" id="{5D18EC93-8229-43AA-A3B0-08D4B61CD0E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56216" y="2947623"/>
            <a:ext cx="1988201" cy="7375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48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53" name="Espaço Reservado para Texto 3">
            <a:extLst>
              <a:ext uri="{FF2B5EF4-FFF2-40B4-BE49-F238E27FC236}">
                <a16:creationId xmlns:a16="http://schemas.microsoft.com/office/drawing/2014/main" id="{BE4BA7BF-58BE-45EC-A622-91AEEF2F064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60797" y="2947623"/>
            <a:ext cx="1988201" cy="7375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48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59" name="Espaço Reservado para Texto 3">
            <a:extLst>
              <a:ext uri="{FF2B5EF4-FFF2-40B4-BE49-F238E27FC236}">
                <a16:creationId xmlns:a16="http://schemas.microsoft.com/office/drawing/2014/main" id="{F896D332-3B77-4D91-8361-EF223CBA0F6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195601" y="2343080"/>
            <a:ext cx="6394784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60" name="Título 1">
            <a:extLst>
              <a:ext uri="{FF2B5EF4-FFF2-40B4-BE49-F238E27FC236}">
                <a16:creationId xmlns:a16="http://schemas.microsoft.com/office/drawing/2014/main" id="{3EE910D9-8FB0-40BB-AE72-1D6968EE9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0668" y="1596346"/>
            <a:ext cx="6383381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35" name="Textfeld 26">
            <a:extLst>
              <a:ext uri="{FF2B5EF4-FFF2-40B4-BE49-F238E27FC236}">
                <a16:creationId xmlns:a16="http://schemas.microsoft.com/office/drawing/2014/main" id="{BF585A3F-1C81-4660-9585-40DF490FBF46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40" name="Espaço Reservado para Texto 21">
            <a:extLst>
              <a:ext uri="{FF2B5EF4-FFF2-40B4-BE49-F238E27FC236}">
                <a16:creationId xmlns:a16="http://schemas.microsoft.com/office/drawing/2014/main" id="{68740AFB-ABD2-4563-A122-771FD4AF93E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03606" y="3644786"/>
            <a:ext cx="252266" cy="252264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42" name="Espaço Reservado para Texto 21">
            <a:extLst>
              <a:ext uri="{FF2B5EF4-FFF2-40B4-BE49-F238E27FC236}">
                <a16:creationId xmlns:a16="http://schemas.microsoft.com/office/drawing/2014/main" id="{6FFA47C6-8450-4D18-B516-A9311680B5A8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2728646" y="3644786"/>
            <a:ext cx="252266" cy="252264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43" name="Espaço Reservado para Texto 21">
            <a:extLst>
              <a:ext uri="{FF2B5EF4-FFF2-40B4-BE49-F238E27FC236}">
                <a16:creationId xmlns:a16="http://schemas.microsoft.com/office/drawing/2014/main" id="{A146A171-32F9-4ADA-9850-2246024C996D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4994326" y="3644786"/>
            <a:ext cx="252266" cy="252264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44" name="Espaço Reservado para Texto 21">
            <a:extLst>
              <a:ext uri="{FF2B5EF4-FFF2-40B4-BE49-F238E27FC236}">
                <a16:creationId xmlns:a16="http://schemas.microsoft.com/office/drawing/2014/main" id="{201006CF-CFAF-4912-B5FD-B8701FA24291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239686" y="3644786"/>
            <a:ext cx="252266" cy="252264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45" name="Espaço Reservado para Texto 21">
            <a:extLst>
              <a:ext uri="{FF2B5EF4-FFF2-40B4-BE49-F238E27FC236}">
                <a16:creationId xmlns:a16="http://schemas.microsoft.com/office/drawing/2014/main" id="{5E393C5A-1435-4E23-A301-E8596AB7A77F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9439326" y="3644786"/>
            <a:ext cx="252266" cy="252264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4292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ha do Tempo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Forma Livre: Forma 61">
            <a:extLst>
              <a:ext uri="{FF2B5EF4-FFF2-40B4-BE49-F238E27FC236}">
                <a16:creationId xmlns:a16="http://schemas.microsoft.com/office/drawing/2014/main" id="{47D95EBB-A008-4AF0-AD2D-B7096BF0D7B5}"/>
              </a:ext>
            </a:extLst>
          </p:cNvPr>
          <p:cNvSpPr/>
          <p:nvPr userDrawn="1"/>
        </p:nvSpPr>
        <p:spPr>
          <a:xfrm>
            <a:off x="0" y="0"/>
            <a:ext cx="6669221" cy="6858000"/>
          </a:xfrm>
          <a:custGeom>
            <a:avLst/>
            <a:gdLst>
              <a:gd name="connsiteX0" fmla="*/ 3797 w 6669221"/>
              <a:gd name="connsiteY0" fmla="*/ 0 h 6858000"/>
              <a:gd name="connsiteX1" fmla="*/ 5020860 w 6669221"/>
              <a:gd name="connsiteY1" fmla="*/ 0 h 6858000"/>
              <a:gd name="connsiteX2" fmla="*/ 5065220 w 6669221"/>
              <a:gd name="connsiteY2" fmla="*/ 161009 h 6858000"/>
              <a:gd name="connsiteX3" fmla="*/ 5083669 w 6669221"/>
              <a:gd name="connsiteY3" fmla="*/ 1463025 h 6858000"/>
              <a:gd name="connsiteX4" fmla="*/ 5565273 w 6669221"/>
              <a:gd name="connsiteY4" fmla="*/ 5222313 h 6858000"/>
              <a:gd name="connsiteX5" fmla="*/ 6636285 w 6669221"/>
              <a:gd name="connsiteY5" fmla="*/ 6751547 h 6858000"/>
              <a:gd name="connsiteX6" fmla="*/ 6669221 w 6669221"/>
              <a:gd name="connsiteY6" fmla="*/ 6858000 h 6858000"/>
              <a:gd name="connsiteX7" fmla="*/ 0 w 6669221"/>
              <a:gd name="connsiteY7" fmla="*/ 6858000 h 6858000"/>
              <a:gd name="connsiteX8" fmla="*/ 0 w 6669221"/>
              <a:gd name="connsiteY8" fmla="*/ 463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9221" h="6858000">
                <a:moveTo>
                  <a:pt x="3797" y="0"/>
                </a:moveTo>
                <a:lnTo>
                  <a:pt x="5020860" y="0"/>
                </a:lnTo>
                <a:lnTo>
                  <a:pt x="5065220" y="161009"/>
                </a:lnTo>
                <a:cubicBezTo>
                  <a:pt x="5155804" y="567255"/>
                  <a:pt x="5152874" y="1012556"/>
                  <a:pt x="5083669" y="1463025"/>
                </a:cubicBezTo>
                <a:cubicBezTo>
                  <a:pt x="4949954" y="2334675"/>
                  <a:pt x="4247628" y="4096481"/>
                  <a:pt x="5565273" y="5222313"/>
                </a:cubicBezTo>
                <a:cubicBezTo>
                  <a:pt x="6095019" y="5674957"/>
                  <a:pt x="6442841" y="6200353"/>
                  <a:pt x="6636285" y="6751547"/>
                </a:cubicBezTo>
                <a:lnTo>
                  <a:pt x="6669221" y="6858000"/>
                </a:lnTo>
                <a:lnTo>
                  <a:pt x="0" y="6858000"/>
                </a:lnTo>
                <a:lnTo>
                  <a:pt x="0" y="4632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66" name="Espaço Reservado para Imagem 39">
            <a:extLst>
              <a:ext uri="{FF2B5EF4-FFF2-40B4-BE49-F238E27FC236}">
                <a16:creationId xmlns:a16="http://schemas.microsoft.com/office/drawing/2014/main" id="{29205043-4D0C-423E-A926-DAA8B1C5BB1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69851" y="1309976"/>
            <a:ext cx="5546564" cy="4534111"/>
          </a:xfrm>
          <a:prstGeom prst="roundRect">
            <a:avLst>
              <a:gd name="adj" fmla="val 12316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endParaRPr lang="pt-BR"/>
          </a:p>
          <a:p>
            <a:endParaRPr lang="pt-BR"/>
          </a:p>
          <a:p>
            <a:endParaRPr lang="pt-BR"/>
          </a:p>
          <a:p>
            <a:endParaRPr lang="pt-BR"/>
          </a:p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54" name="Espaço Reservado para Texto 21">
            <a:extLst>
              <a:ext uri="{FF2B5EF4-FFF2-40B4-BE49-F238E27FC236}">
                <a16:creationId xmlns:a16="http://schemas.microsoft.com/office/drawing/2014/main" id="{1E0DB67D-AA2D-4577-93BA-02EEFD1A4B4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 rot="16200000">
            <a:off x="4608933" y="3336464"/>
            <a:ext cx="6978200" cy="64873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24" name="Espaço Reservado para Texto 3">
            <a:extLst>
              <a:ext uri="{FF2B5EF4-FFF2-40B4-BE49-F238E27FC236}">
                <a16:creationId xmlns:a16="http://schemas.microsoft.com/office/drawing/2014/main" id="{B817C0C9-62CF-4529-8F19-F70C48D5C1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20642" y="1044648"/>
            <a:ext cx="2777384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34" name="Espaço Reservado para Texto 3">
            <a:extLst>
              <a:ext uri="{FF2B5EF4-FFF2-40B4-BE49-F238E27FC236}">
                <a16:creationId xmlns:a16="http://schemas.microsoft.com/office/drawing/2014/main" id="{5D4A8A78-6BB6-470D-B99B-6B137BDB910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315075" y="2096058"/>
            <a:ext cx="1587805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r">
              <a:buNone/>
              <a:defRPr sz="36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DD1EFD85-3323-4E22-920F-3B7EB0DA399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220642" y="2111448"/>
            <a:ext cx="2777384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37" name="Espaço Reservado para Texto 3">
            <a:extLst>
              <a:ext uri="{FF2B5EF4-FFF2-40B4-BE49-F238E27FC236}">
                <a16:creationId xmlns:a16="http://schemas.microsoft.com/office/drawing/2014/main" id="{36A0E553-F77D-438F-8639-5F410ACC55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315075" y="3162858"/>
            <a:ext cx="1587805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r">
              <a:buNone/>
              <a:defRPr sz="36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38" name="Espaço Reservado para Texto 3">
            <a:extLst>
              <a:ext uri="{FF2B5EF4-FFF2-40B4-BE49-F238E27FC236}">
                <a16:creationId xmlns:a16="http://schemas.microsoft.com/office/drawing/2014/main" id="{6C486DA1-7885-47EB-884D-DCD93EFC89E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20642" y="3178248"/>
            <a:ext cx="2777384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39" name="Espaço Reservado para Texto 3">
            <a:extLst>
              <a:ext uri="{FF2B5EF4-FFF2-40B4-BE49-F238E27FC236}">
                <a16:creationId xmlns:a16="http://schemas.microsoft.com/office/drawing/2014/main" id="{AD203C9F-BB5B-44D5-BA8B-6CFBE0E34E0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315075" y="4229658"/>
            <a:ext cx="1587805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r">
              <a:buNone/>
              <a:defRPr sz="36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40" name="Espaço Reservado para Texto 3">
            <a:extLst>
              <a:ext uri="{FF2B5EF4-FFF2-40B4-BE49-F238E27FC236}">
                <a16:creationId xmlns:a16="http://schemas.microsoft.com/office/drawing/2014/main" id="{A763DE66-C00D-416B-BB17-2A99B4A99F5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20642" y="4245048"/>
            <a:ext cx="2777384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44" name="Espaço Reservado para Texto 3">
            <a:extLst>
              <a:ext uri="{FF2B5EF4-FFF2-40B4-BE49-F238E27FC236}">
                <a16:creationId xmlns:a16="http://schemas.microsoft.com/office/drawing/2014/main" id="{365FD5DD-1DE6-4A03-9D6B-AA02A6338E7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5075" y="5296458"/>
            <a:ext cx="1587805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r">
              <a:buNone/>
              <a:defRPr sz="36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sp>
        <p:nvSpPr>
          <p:cNvPr id="55" name="Espaço Reservado para Texto 3">
            <a:extLst>
              <a:ext uri="{FF2B5EF4-FFF2-40B4-BE49-F238E27FC236}">
                <a16:creationId xmlns:a16="http://schemas.microsoft.com/office/drawing/2014/main" id="{DFB34B11-2F33-47E5-99BE-BD23016E058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220642" y="5311848"/>
            <a:ext cx="2777384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. </a:t>
            </a: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</a:p>
        </p:txBody>
      </p:sp>
      <p:sp>
        <p:nvSpPr>
          <p:cNvPr id="13" name="Espaço Reservado para Texto 3">
            <a:extLst>
              <a:ext uri="{FF2B5EF4-FFF2-40B4-BE49-F238E27FC236}">
                <a16:creationId xmlns:a16="http://schemas.microsoft.com/office/drawing/2014/main" id="{4B7AE241-B19C-4DB9-AF10-871724042E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15075" y="1029258"/>
            <a:ext cx="1587805" cy="5713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r">
              <a:buNone/>
              <a:defRPr sz="3600" b="1" i="0">
                <a:solidFill>
                  <a:srgbClr val="461E5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ano</a:t>
            </a:r>
          </a:p>
        </p:txBody>
      </p:sp>
      <p:pic>
        <p:nvPicPr>
          <p:cNvPr id="28" name="Imagem 27" descr="Uma imagem contendo desenho&#10;&#10;Descrição gerada automaticamente">
            <a:extLst>
              <a:ext uri="{FF2B5EF4-FFF2-40B4-BE49-F238E27FC236}">
                <a16:creationId xmlns:a16="http://schemas.microsoft.com/office/drawing/2014/main" id="{A18841F6-B684-4C07-92A3-814CEDE42F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D058EC3E-62AA-472D-B7C0-2A7901E05323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chemeClr val="bg1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chemeClr val="bg1"/>
              </a:solidFill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402277BE-3664-4A09-B0E3-7920CFF1808F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Espaço Reservado para Texto 21">
            <a:extLst>
              <a:ext uri="{FF2B5EF4-FFF2-40B4-BE49-F238E27FC236}">
                <a16:creationId xmlns:a16="http://schemas.microsoft.com/office/drawing/2014/main" id="{D4FD8AE6-2F15-4A4C-BA76-A521C8A14A32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971288" y="1214474"/>
            <a:ext cx="191007" cy="191005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3" name="Espaço Reservado para Texto 21">
            <a:extLst>
              <a:ext uri="{FF2B5EF4-FFF2-40B4-BE49-F238E27FC236}">
                <a16:creationId xmlns:a16="http://schemas.microsoft.com/office/drawing/2014/main" id="{D781A5FA-8566-46CB-A503-DBFF37E3FCF1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7971288" y="2286354"/>
            <a:ext cx="191007" cy="191005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5" name="Espaço Reservado para Texto 21">
            <a:extLst>
              <a:ext uri="{FF2B5EF4-FFF2-40B4-BE49-F238E27FC236}">
                <a16:creationId xmlns:a16="http://schemas.microsoft.com/office/drawing/2014/main" id="{AD8AA343-8616-416D-98B1-3A6CAC41BD73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7971288" y="3358234"/>
            <a:ext cx="191007" cy="191005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42" name="Espaço Reservado para Texto 21">
            <a:extLst>
              <a:ext uri="{FF2B5EF4-FFF2-40B4-BE49-F238E27FC236}">
                <a16:creationId xmlns:a16="http://schemas.microsoft.com/office/drawing/2014/main" id="{44E3B0CD-6782-4ABB-BC76-80301948E2E2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7971288" y="4430114"/>
            <a:ext cx="191007" cy="191005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43" name="Espaço Reservado para Texto 21">
            <a:extLst>
              <a:ext uri="{FF2B5EF4-FFF2-40B4-BE49-F238E27FC236}">
                <a16:creationId xmlns:a16="http://schemas.microsoft.com/office/drawing/2014/main" id="{7D30EB49-9EB5-4941-858E-C03C281182CF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7971288" y="5501994"/>
            <a:ext cx="191007" cy="191005"/>
          </a:xfrm>
          <a:prstGeom prst="ellipse">
            <a:avLst/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46" name="Forma Livre: Forma 45">
            <a:extLst>
              <a:ext uri="{FF2B5EF4-FFF2-40B4-BE49-F238E27FC236}">
                <a16:creationId xmlns:a16="http://schemas.microsoft.com/office/drawing/2014/main" id="{F6F4FA69-E817-4529-BA62-570A3FF7F655}"/>
              </a:ext>
            </a:extLst>
          </p:cNvPr>
          <p:cNvSpPr/>
          <p:nvPr userDrawn="1"/>
        </p:nvSpPr>
        <p:spPr>
          <a:xfrm>
            <a:off x="4983667" y="314557"/>
            <a:ext cx="213848" cy="213848"/>
          </a:xfrm>
          <a:custGeom>
            <a:avLst/>
            <a:gdLst>
              <a:gd name="connsiteX0" fmla="*/ 219742 w 439483"/>
              <a:gd name="connsiteY0" fmla="*/ 87916 h 439483"/>
              <a:gd name="connsiteX1" fmla="*/ 351568 w 439483"/>
              <a:gd name="connsiteY1" fmla="*/ 219742 h 439483"/>
              <a:gd name="connsiteX2" fmla="*/ 219742 w 439483"/>
              <a:gd name="connsiteY2" fmla="*/ 351568 h 439483"/>
              <a:gd name="connsiteX3" fmla="*/ 87916 w 439483"/>
              <a:gd name="connsiteY3" fmla="*/ 219742 h 439483"/>
              <a:gd name="connsiteX4" fmla="*/ 219742 w 439483"/>
              <a:gd name="connsiteY4" fmla="*/ 87916 h 439483"/>
              <a:gd name="connsiteX5" fmla="*/ 219742 w 439483"/>
              <a:gd name="connsiteY5" fmla="*/ 87916 h 439483"/>
              <a:gd name="connsiteX6" fmla="*/ 219742 w 439483"/>
              <a:gd name="connsiteY6" fmla="*/ 0 h 439483"/>
              <a:gd name="connsiteX7" fmla="*/ 0 w 439483"/>
              <a:gd name="connsiteY7" fmla="*/ 219742 h 439483"/>
              <a:gd name="connsiteX8" fmla="*/ 219742 w 439483"/>
              <a:gd name="connsiteY8" fmla="*/ 439483 h 439483"/>
              <a:gd name="connsiteX9" fmla="*/ 439484 w 439483"/>
              <a:gd name="connsiteY9" fmla="*/ 219742 h 439483"/>
              <a:gd name="connsiteX10" fmla="*/ 219742 w 439483"/>
              <a:gd name="connsiteY10" fmla="*/ 0 h 439483"/>
              <a:gd name="connsiteX11" fmla="*/ 219742 w 439483"/>
              <a:gd name="connsiteY11" fmla="*/ 0 h 439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9483" h="439483">
                <a:moveTo>
                  <a:pt x="219742" y="87916"/>
                </a:moveTo>
                <a:cubicBezTo>
                  <a:pt x="292418" y="87916"/>
                  <a:pt x="351568" y="147066"/>
                  <a:pt x="351568" y="219742"/>
                </a:cubicBezTo>
                <a:cubicBezTo>
                  <a:pt x="351568" y="292417"/>
                  <a:pt x="292418" y="351568"/>
                  <a:pt x="219742" y="351568"/>
                </a:cubicBezTo>
                <a:cubicBezTo>
                  <a:pt x="147066" y="351568"/>
                  <a:pt x="87916" y="292417"/>
                  <a:pt x="87916" y="219742"/>
                </a:cubicBezTo>
                <a:cubicBezTo>
                  <a:pt x="87916" y="147066"/>
                  <a:pt x="147066" y="87916"/>
                  <a:pt x="219742" y="87916"/>
                </a:cubicBezTo>
                <a:lnTo>
                  <a:pt x="219742" y="87916"/>
                </a:lnTo>
                <a:close/>
                <a:moveTo>
                  <a:pt x="219742" y="0"/>
                </a:moveTo>
                <a:cubicBezTo>
                  <a:pt x="98393" y="0"/>
                  <a:pt x="0" y="98393"/>
                  <a:pt x="0" y="219742"/>
                </a:cubicBezTo>
                <a:cubicBezTo>
                  <a:pt x="0" y="341090"/>
                  <a:pt x="98393" y="439483"/>
                  <a:pt x="219742" y="439483"/>
                </a:cubicBezTo>
                <a:cubicBezTo>
                  <a:pt x="341090" y="439483"/>
                  <a:pt x="439484" y="341090"/>
                  <a:pt x="439484" y="219742"/>
                </a:cubicBezTo>
                <a:cubicBezTo>
                  <a:pt x="439484" y="98393"/>
                  <a:pt x="341090" y="0"/>
                  <a:pt x="219742" y="0"/>
                </a:cubicBezTo>
                <a:lnTo>
                  <a:pt x="219742" y="0"/>
                </a:lnTo>
                <a:close/>
              </a:path>
            </a:pathLst>
          </a:custGeom>
          <a:solidFill>
            <a:srgbClr val="FF99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9" name="Espaço Reservado para Texto 21">
            <a:extLst>
              <a:ext uri="{FF2B5EF4-FFF2-40B4-BE49-F238E27FC236}">
                <a16:creationId xmlns:a16="http://schemas.microsoft.com/office/drawing/2014/main" id="{D22D9E09-5FC6-49F8-ADB3-678E31B0F4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10800000" flipV="1">
            <a:off x="-335968" y="934359"/>
            <a:ext cx="5823515" cy="1087377"/>
          </a:xfrm>
          <a:prstGeom prst="roundRect">
            <a:avLst>
              <a:gd name="adj" fmla="val 25182"/>
            </a:avLst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8100000" scaled="1"/>
            <a:tileRect/>
          </a:gra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50" name="Espaço Reservado para Texto 21">
            <a:extLst>
              <a:ext uri="{FF2B5EF4-FFF2-40B4-BE49-F238E27FC236}">
                <a16:creationId xmlns:a16="http://schemas.microsoft.com/office/drawing/2014/main" id="{4ECF7EAA-0CAF-480A-A092-8B1F5A6C16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1759" y="1962043"/>
            <a:ext cx="643173" cy="149405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51" name="Espaço Reservado para Texto 3">
            <a:extLst>
              <a:ext uri="{FF2B5EF4-FFF2-40B4-BE49-F238E27FC236}">
                <a16:creationId xmlns:a16="http://schemas.microsoft.com/office/drawing/2014/main" id="{79D18B94-34BF-4463-9977-5A198DFA6FF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0543" y="1647714"/>
            <a:ext cx="4832262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52" name="Título 1">
            <a:extLst>
              <a:ext uri="{FF2B5EF4-FFF2-40B4-BE49-F238E27FC236}">
                <a16:creationId xmlns:a16="http://schemas.microsoft.com/office/drawing/2014/main" id="{6DB85842-29B0-40FB-91CA-3889462903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680" y="1049653"/>
            <a:ext cx="4855207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310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orma Livre: Forma 71">
            <a:extLst>
              <a:ext uri="{FF2B5EF4-FFF2-40B4-BE49-F238E27FC236}">
                <a16:creationId xmlns:a16="http://schemas.microsoft.com/office/drawing/2014/main" id="{B23EA9E5-8734-4E9F-9689-5E0DEE4B5DA3}"/>
              </a:ext>
            </a:extLst>
          </p:cNvPr>
          <p:cNvSpPr/>
          <p:nvPr userDrawn="1"/>
        </p:nvSpPr>
        <p:spPr>
          <a:xfrm>
            <a:off x="0" y="421062"/>
            <a:ext cx="5695272" cy="6436938"/>
          </a:xfrm>
          <a:custGeom>
            <a:avLst/>
            <a:gdLst>
              <a:gd name="connsiteX0" fmla="*/ 1300138 w 5695272"/>
              <a:gd name="connsiteY0" fmla="*/ 994 h 6436938"/>
              <a:gd name="connsiteX1" fmla="*/ 1483309 w 5695272"/>
              <a:gd name="connsiteY1" fmla="*/ 20356 h 6436938"/>
              <a:gd name="connsiteX2" fmla="*/ 3011418 w 5695272"/>
              <a:gd name="connsiteY2" fmla="*/ 1891628 h 6436938"/>
              <a:gd name="connsiteX3" fmla="*/ 4354553 w 5695272"/>
              <a:gd name="connsiteY3" fmla="*/ 2842441 h 6436938"/>
              <a:gd name="connsiteX4" fmla="*/ 5640555 w 5695272"/>
              <a:gd name="connsiteY4" fmla="*/ 4319366 h 6436938"/>
              <a:gd name="connsiteX5" fmla="*/ 5096243 w 5695272"/>
              <a:gd name="connsiteY5" fmla="*/ 6351554 h 6436938"/>
              <a:gd name="connsiteX6" fmla="*/ 4991860 w 5695272"/>
              <a:gd name="connsiteY6" fmla="*/ 6436938 h 6436938"/>
              <a:gd name="connsiteX7" fmla="*/ 0 w 5695272"/>
              <a:gd name="connsiteY7" fmla="*/ 6436938 h 6436938"/>
              <a:gd name="connsiteX8" fmla="*/ 0 w 5695272"/>
              <a:gd name="connsiteY8" fmla="*/ 521544 h 6436938"/>
              <a:gd name="connsiteX9" fmla="*/ 157758 w 5695272"/>
              <a:gd name="connsiteY9" fmla="*/ 387395 h 6436938"/>
              <a:gd name="connsiteX10" fmla="*/ 1300138 w 5695272"/>
              <a:gd name="connsiteY10" fmla="*/ 994 h 6436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95272" h="6436938">
                <a:moveTo>
                  <a:pt x="1300138" y="994"/>
                </a:moveTo>
                <a:cubicBezTo>
                  <a:pt x="1362534" y="3324"/>
                  <a:pt x="1423757" y="9755"/>
                  <a:pt x="1483309" y="20356"/>
                </a:cubicBezTo>
                <a:cubicBezTo>
                  <a:pt x="2686465" y="234610"/>
                  <a:pt x="2601478" y="1356707"/>
                  <a:pt x="3011418" y="1891628"/>
                </a:cubicBezTo>
                <a:cubicBezTo>
                  <a:pt x="3421595" y="2426430"/>
                  <a:pt x="3891407" y="2660920"/>
                  <a:pt x="4354553" y="2842441"/>
                </a:cubicBezTo>
                <a:cubicBezTo>
                  <a:pt x="5002315" y="3096332"/>
                  <a:pt x="5527238" y="3740166"/>
                  <a:pt x="5640555" y="4319366"/>
                </a:cubicBezTo>
                <a:cubicBezTo>
                  <a:pt x="5793077" y="5098515"/>
                  <a:pt x="5631461" y="5850736"/>
                  <a:pt x="5096243" y="6351554"/>
                </a:cubicBezTo>
                <a:lnTo>
                  <a:pt x="4991860" y="6436938"/>
                </a:lnTo>
                <a:lnTo>
                  <a:pt x="0" y="6436938"/>
                </a:lnTo>
                <a:lnTo>
                  <a:pt x="0" y="521544"/>
                </a:lnTo>
                <a:lnTo>
                  <a:pt x="157758" y="387395"/>
                </a:lnTo>
                <a:cubicBezTo>
                  <a:pt x="509152" y="120707"/>
                  <a:pt x="925762" y="-12983"/>
                  <a:pt x="1300138" y="994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24" name="Espaço Reservado para Texto 3">
            <a:extLst>
              <a:ext uri="{FF2B5EF4-FFF2-40B4-BE49-F238E27FC236}">
                <a16:creationId xmlns:a16="http://schemas.microsoft.com/office/drawing/2014/main" id="{B817C0C9-62CF-4529-8F19-F70C48D5C1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66677" y="1177998"/>
            <a:ext cx="2777384" cy="2389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>
                <a:solidFill>
                  <a:srgbClr val="40404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 </a:t>
            </a:r>
          </a:p>
        </p:txBody>
      </p:sp>
      <p:sp>
        <p:nvSpPr>
          <p:cNvPr id="59" name="Espaço Reservado para Texto 3">
            <a:extLst>
              <a:ext uri="{FF2B5EF4-FFF2-40B4-BE49-F238E27FC236}">
                <a16:creationId xmlns:a16="http://schemas.microsoft.com/office/drawing/2014/main" id="{F896D332-3B77-4D91-8361-EF223CBA0F6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010537" y="1911838"/>
            <a:ext cx="2349165" cy="350284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r">
              <a:lnSpc>
                <a:spcPct val="85000"/>
              </a:lnSpc>
              <a:spcBef>
                <a:spcPts val="0"/>
              </a:spcBef>
              <a:buNone/>
              <a:defRPr sz="2400" b="0" spc="0" baseline="0">
                <a:solidFill>
                  <a:srgbClr val="40404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60" name="Título 1">
            <a:extLst>
              <a:ext uri="{FF2B5EF4-FFF2-40B4-BE49-F238E27FC236}">
                <a16:creationId xmlns:a16="http://schemas.microsoft.com/office/drawing/2014/main" id="{3EE910D9-8FB0-40BB-AE72-1D6968EE9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98391" y="1174183"/>
            <a:ext cx="2344976" cy="824324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6000" b="1" i="0">
                <a:solidFill>
                  <a:srgbClr val="660099"/>
                </a:solidFill>
              </a:defRPr>
            </a:lvl1pPr>
          </a:lstStyle>
          <a:p>
            <a:r>
              <a:rPr lang="pt-BR"/>
              <a:t>ÍNDICE</a:t>
            </a:r>
            <a:endParaRPr lang="en-US"/>
          </a:p>
        </p:txBody>
      </p:sp>
      <p:sp>
        <p:nvSpPr>
          <p:cNvPr id="34" name="Espaço Reservado para Texto 3">
            <a:extLst>
              <a:ext uri="{FF2B5EF4-FFF2-40B4-BE49-F238E27FC236}">
                <a16:creationId xmlns:a16="http://schemas.microsoft.com/office/drawing/2014/main" id="{5D4A8A78-6BB6-470D-B99B-6B137BDB910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676078" y="2238933"/>
            <a:ext cx="1581584" cy="4605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2800" b="1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 2</a:t>
            </a:r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DD1EFD85-3323-4E22-920F-3B7EB0DA399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219052" y="2254323"/>
            <a:ext cx="2777384" cy="2389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>
                <a:solidFill>
                  <a:srgbClr val="40404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</a:t>
            </a:r>
          </a:p>
        </p:txBody>
      </p:sp>
      <p:sp>
        <p:nvSpPr>
          <p:cNvPr id="37" name="Espaço Reservado para Texto 3">
            <a:extLst>
              <a:ext uri="{FF2B5EF4-FFF2-40B4-BE49-F238E27FC236}">
                <a16:creationId xmlns:a16="http://schemas.microsoft.com/office/drawing/2014/main" id="{36A0E553-F77D-438F-8639-5F410ACC55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676078" y="3305733"/>
            <a:ext cx="1581584" cy="4605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2800" b="1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 3</a:t>
            </a:r>
          </a:p>
        </p:txBody>
      </p:sp>
      <p:sp>
        <p:nvSpPr>
          <p:cNvPr id="38" name="Espaço Reservado para Texto 3">
            <a:extLst>
              <a:ext uri="{FF2B5EF4-FFF2-40B4-BE49-F238E27FC236}">
                <a16:creationId xmlns:a16="http://schemas.microsoft.com/office/drawing/2014/main" id="{6C486DA1-7885-47EB-884D-DCD93EFC89E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190477" y="3311598"/>
            <a:ext cx="2777384" cy="2389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>
                <a:solidFill>
                  <a:srgbClr val="40404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 </a:t>
            </a:r>
          </a:p>
        </p:txBody>
      </p:sp>
      <p:sp>
        <p:nvSpPr>
          <p:cNvPr id="39" name="Espaço Reservado para Texto 3">
            <a:extLst>
              <a:ext uri="{FF2B5EF4-FFF2-40B4-BE49-F238E27FC236}">
                <a16:creationId xmlns:a16="http://schemas.microsoft.com/office/drawing/2014/main" id="{AD203C9F-BB5B-44D5-BA8B-6CFBE0E34E03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676078" y="4372533"/>
            <a:ext cx="1581584" cy="4605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2800" b="1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 4</a:t>
            </a:r>
          </a:p>
        </p:txBody>
      </p:sp>
      <p:sp>
        <p:nvSpPr>
          <p:cNvPr id="40" name="Espaço Reservado para Texto 3">
            <a:extLst>
              <a:ext uri="{FF2B5EF4-FFF2-40B4-BE49-F238E27FC236}">
                <a16:creationId xmlns:a16="http://schemas.microsoft.com/office/drawing/2014/main" id="{A763DE66-C00D-416B-BB17-2A99B4A99F5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66677" y="4378398"/>
            <a:ext cx="2777384" cy="2389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>
                <a:solidFill>
                  <a:srgbClr val="40404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 </a:t>
            </a:r>
          </a:p>
        </p:txBody>
      </p:sp>
      <p:sp>
        <p:nvSpPr>
          <p:cNvPr id="44" name="Espaço Reservado para Texto 3">
            <a:extLst>
              <a:ext uri="{FF2B5EF4-FFF2-40B4-BE49-F238E27FC236}">
                <a16:creationId xmlns:a16="http://schemas.microsoft.com/office/drawing/2014/main" id="{365FD5DD-1DE6-4A03-9D6B-AA02A6338E7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676078" y="5439333"/>
            <a:ext cx="1581584" cy="4605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2800" b="1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 5</a:t>
            </a:r>
          </a:p>
        </p:txBody>
      </p:sp>
      <p:sp>
        <p:nvSpPr>
          <p:cNvPr id="55" name="Espaço Reservado para Texto 3">
            <a:extLst>
              <a:ext uri="{FF2B5EF4-FFF2-40B4-BE49-F238E27FC236}">
                <a16:creationId xmlns:a16="http://schemas.microsoft.com/office/drawing/2014/main" id="{DFB34B11-2F33-47E5-99BE-BD23016E058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323827" y="5445198"/>
            <a:ext cx="2777384" cy="2389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200">
                <a:solidFill>
                  <a:srgbClr val="40404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Clique para inserir texto </a:t>
            </a:r>
          </a:p>
        </p:txBody>
      </p:sp>
      <p:sp>
        <p:nvSpPr>
          <p:cNvPr id="13" name="Espaço Reservado para Texto 3">
            <a:extLst>
              <a:ext uri="{FF2B5EF4-FFF2-40B4-BE49-F238E27FC236}">
                <a16:creationId xmlns:a16="http://schemas.microsoft.com/office/drawing/2014/main" id="{4B7AE241-B19C-4DB9-AF10-871724042E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6078" y="1172133"/>
            <a:ext cx="1581584" cy="4605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2800" b="1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 1</a:t>
            </a:r>
          </a:p>
        </p:txBody>
      </p:sp>
      <p:sp>
        <p:nvSpPr>
          <p:cNvPr id="30" name="Espaço Reservado para Texto 21">
            <a:extLst>
              <a:ext uri="{FF2B5EF4-FFF2-40B4-BE49-F238E27FC236}">
                <a16:creationId xmlns:a16="http://schemas.microsoft.com/office/drawing/2014/main" id="{DBBA202F-DFA6-4C69-8888-D2AB6934F5EE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 rot="10800000">
            <a:off x="10692669" y="1402595"/>
            <a:ext cx="342376" cy="120572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47" name="Espaço Reservado para Texto 21">
            <a:extLst>
              <a:ext uri="{FF2B5EF4-FFF2-40B4-BE49-F238E27FC236}">
                <a16:creationId xmlns:a16="http://schemas.microsoft.com/office/drawing/2014/main" id="{68C0F35F-D0A2-47CE-88EC-D4E6264A8C89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 rot="10800000">
            <a:off x="10692669" y="2451869"/>
            <a:ext cx="342376" cy="120572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48" name="Espaço Reservado para Texto 21">
            <a:extLst>
              <a:ext uri="{FF2B5EF4-FFF2-40B4-BE49-F238E27FC236}">
                <a16:creationId xmlns:a16="http://schemas.microsoft.com/office/drawing/2014/main" id="{ECAE09C9-A170-4645-9425-1E0880292419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 rot="10800000">
            <a:off x="10692669" y="3480950"/>
            <a:ext cx="342376" cy="120572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49" name="Espaço Reservado para Texto 21">
            <a:extLst>
              <a:ext uri="{FF2B5EF4-FFF2-40B4-BE49-F238E27FC236}">
                <a16:creationId xmlns:a16="http://schemas.microsoft.com/office/drawing/2014/main" id="{27478FC5-72E2-4F58-90F7-7126667AD47F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 rot="10800000">
            <a:off x="10692669" y="4585469"/>
            <a:ext cx="342376" cy="120572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50" name="Espaço Reservado para Texto 21">
            <a:extLst>
              <a:ext uri="{FF2B5EF4-FFF2-40B4-BE49-F238E27FC236}">
                <a16:creationId xmlns:a16="http://schemas.microsoft.com/office/drawing/2014/main" id="{0C648189-C207-4010-8328-249D4CDBA7B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 rot="10800000">
            <a:off x="10692669" y="5651507"/>
            <a:ext cx="342376" cy="120572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61" name="Espaço Reservado para Texto 21">
            <a:extLst>
              <a:ext uri="{FF2B5EF4-FFF2-40B4-BE49-F238E27FC236}">
                <a16:creationId xmlns:a16="http://schemas.microsoft.com/office/drawing/2014/main" id="{0A4B38CD-014D-4E9E-903C-BDF745FC2862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 rot="10800000" flipV="1">
            <a:off x="7989816" y="1492687"/>
            <a:ext cx="2628000" cy="61794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62" name="Espaço Reservado para Texto 21">
            <a:extLst>
              <a:ext uri="{FF2B5EF4-FFF2-40B4-BE49-F238E27FC236}">
                <a16:creationId xmlns:a16="http://schemas.microsoft.com/office/drawing/2014/main" id="{B2540EAE-02D0-4ECC-9356-D8C853D34327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 rot="10800000" flipV="1">
            <a:off x="7989816" y="2580823"/>
            <a:ext cx="2628000" cy="61794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63" name="Espaço Reservado para Texto 21">
            <a:extLst>
              <a:ext uri="{FF2B5EF4-FFF2-40B4-BE49-F238E27FC236}">
                <a16:creationId xmlns:a16="http://schemas.microsoft.com/office/drawing/2014/main" id="{32FFF89E-ACD3-4300-BD6E-F43802EEB6F2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 rot="10800000" flipV="1">
            <a:off x="7989816" y="3614095"/>
            <a:ext cx="2628000" cy="61794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65" name="Espaço Reservado para Texto 21">
            <a:extLst>
              <a:ext uri="{FF2B5EF4-FFF2-40B4-BE49-F238E27FC236}">
                <a16:creationId xmlns:a16="http://schemas.microsoft.com/office/drawing/2014/main" id="{AB086488-8685-4896-A227-43A383A7752E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 rot="10800000" flipV="1">
            <a:off x="7998960" y="4711375"/>
            <a:ext cx="2628000" cy="61794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66" name="Espaço Reservado para Texto 21">
            <a:extLst>
              <a:ext uri="{FF2B5EF4-FFF2-40B4-BE49-F238E27FC236}">
                <a16:creationId xmlns:a16="http://schemas.microsoft.com/office/drawing/2014/main" id="{39DEC8F0-51BB-4373-B8BA-0EA135505745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 rot="10800000" flipV="1">
            <a:off x="7998960" y="5772079"/>
            <a:ext cx="2628000" cy="61794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35" name="Textfeld 26">
            <a:extLst>
              <a:ext uri="{FF2B5EF4-FFF2-40B4-BE49-F238E27FC236}">
                <a16:creationId xmlns:a16="http://schemas.microsoft.com/office/drawing/2014/main" id="{F88C5C0F-2FED-4717-9DC9-573B2DCD22B2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43" name="Espaço Reservado para Imagem 39">
            <a:extLst>
              <a:ext uri="{FF2B5EF4-FFF2-40B4-BE49-F238E27FC236}">
                <a16:creationId xmlns:a16="http://schemas.microsoft.com/office/drawing/2014/main" id="{3B5ABB43-A006-4161-8ECC-944ED222120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-532436" y="2642617"/>
            <a:ext cx="6306057" cy="3257217"/>
          </a:xfrm>
          <a:prstGeom prst="roundRect">
            <a:avLst/>
          </a:prstGeom>
          <a:noFill/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45" name="Espaço Reservado para Texto 21">
            <a:extLst>
              <a:ext uri="{FF2B5EF4-FFF2-40B4-BE49-F238E27FC236}">
                <a16:creationId xmlns:a16="http://schemas.microsoft.com/office/drawing/2014/main" id="{763D3E47-B94D-4EB6-AFD4-6907DF07EB58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608692" y="5659827"/>
            <a:ext cx="467754" cy="467754"/>
          </a:xfrm>
          <a:prstGeom prst="ellipse">
            <a:avLst/>
          </a:prstGeom>
          <a:gradFill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52" name="Espaço Reservado para Texto 21">
            <a:extLst>
              <a:ext uri="{FF2B5EF4-FFF2-40B4-BE49-F238E27FC236}">
                <a16:creationId xmlns:a16="http://schemas.microsoft.com/office/drawing/2014/main" id="{509A283C-F1A5-44CC-B39B-0E5003E698A2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5209884" y="2314874"/>
            <a:ext cx="886116" cy="883931"/>
          </a:xfrm>
          <a:prstGeom prst="roundRect">
            <a:avLst>
              <a:gd name="adj" fmla="val 3319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57" name="Espaço Reservado para Texto 56">
            <a:extLst>
              <a:ext uri="{FF2B5EF4-FFF2-40B4-BE49-F238E27FC236}">
                <a16:creationId xmlns:a16="http://schemas.microsoft.com/office/drawing/2014/main" id="{F7AF10F3-ACEE-4F27-945F-1815BA7D717B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>
          <a:xfrm>
            <a:off x="5209884" y="2642617"/>
            <a:ext cx="563737" cy="556188"/>
          </a:xfrm>
          <a:custGeom>
            <a:avLst/>
            <a:gdLst>
              <a:gd name="connsiteX0" fmla="*/ 0 w 563737"/>
              <a:gd name="connsiteY0" fmla="*/ 0 h 545821"/>
              <a:gd name="connsiteX1" fmla="*/ 76718 w 563737"/>
              <a:gd name="connsiteY1" fmla="*/ 0 h 545821"/>
              <a:gd name="connsiteX2" fmla="*/ 563737 w 563737"/>
              <a:gd name="connsiteY2" fmla="*/ 487019 h 545821"/>
              <a:gd name="connsiteX3" fmla="*/ 563737 w 563737"/>
              <a:gd name="connsiteY3" fmla="*/ 545821 h 545821"/>
              <a:gd name="connsiteX4" fmla="*/ 293456 w 563737"/>
              <a:gd name="connsiteY4" fmla="*/ 545821 h 545821"/>
              <a:gd name="connsiteX5" fmla="*/ 0 w 563737"/>
              <a:gd name="connsiteY5" fmla="*/ 252365 h 545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3737" h="545821">
                <a:moveTo>
                  <a:pt x="0" y="0"/>
                </a:moveTo>
                <a:lnTo>
                  <a:pt x="76718" y="0"/>
                </a:lnTo>
                <a:cubicBezTo>
                  <a:pt x="345691" y="0"/>
                  <a:pt x="563737" y="218046"/>
                  <a:pt x="563737" y="487019"/>
                </a:cubicBezTo>
                <a:lnTo>
                  <a:pt x="563737" y="545821"/>
                </a:lnTo>
                <a:lnTo>
                  <a:pt x="293456" y="545821"/>
                </a:lnTo>
                <a:cubicBezTo>
                  <a:pt x="131385" y="545821"/>
                  <a:pt x="0" y="414436"/>
                  <a:pt x="0" y="252365"/>
                </a:cubicBezTo>
                <a:close/>
              </a:path>
            </a:pathLst>
          </a:cu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15" name="Forma Livre: Forma 14">
            <a:extLst>
              <a:ext uri="{FF2B5EF4-FFF2-40B4-BE49-F238E27FC236}">
                <a16:creationId xmlns:a16="http://schemas.microsoft.com/office/drawing/2014/main" id="{14DF8AEE-9079-46C9-9820-CEB8718AB58E}"/>
              </a:ext>
            </a:extLst>
          </p:cNvPr>
          <p:cNvSpPr/>
          <p:nvPr/>
        </p:nvSpPr>
        <p:spPr>
          <a:xfrm>
            <a:off x="295438" y="562291"/>
            <a:ext cx="213848" cy="213848"/>
          </a:xfrm>
          <a:custGeom>
            <a:avLst/>
            <a:gdLst>
              <a:gd name="connsiteX0" fmla="*/ 219742 w 439483"/>
              <a:gd name="connsiteY0" fmla="*/ 87916 h 439483"/>
              <a:gd name="connsiteX1" fmla="*/ 351568 w 439483"/>
              <a:gd name="connsiteY1" fmla="*/ 219742 h 439483"/>
              <a:gd name="connsiteX2" fmla="*/ 219742 w 439483"/>
              <a:gd name="connsiteY2" fmla="*/ 351568 h 439483"/>
              <a:gd name="connsiteX3" fmla="*/ 87916 w 439483"/>
              <a:gd name="connsiteY3" fmla="*/ 219742 h 439483"/>
              <a:gd name="connsiteX4" fmla="*/ 219742 w 439483"/>
              <a:gd name="connsiteY4" fmla="*/ 87916 h 439483"/>
              <a:gd name="connsiteX5" fmla="*/ 219742 w 439483"/>
              <a:gd name="connsiteY5" fmla="*/ 87916 h 439483"/>
              <a:gd name="connsiteX6" fmla="*/ 219742 w 439483"/>
              <a:gd name="connsiteY6" fmla="*/ 0 h 439483"/>
              <a:gd name="connsiteX7" fmla="*/ 0 w 439483"/>
              <a:gd name="connsiteY7" fmla="*/ 219742 h 439483"/>
              <a:gd name="connsiteX8" fmla="*/ 219742 w 439483"/>
              <a:gd name="connsiteY8" fmla="*/ 439483 h 439483"/>
              <a:gd name="connsiteX9" fmla="*/ 439484 w 439483"/>
              <a:gd name="connsiteY9" fmla="*/ 219742 h 439483"/>
              <a:gd name="connsiteX10" fmla="*/ 219742 w 439483"/>
              <a:gd name="connsiteY10" fmla="*/ 0 h 439483"/>
              <a:gd name="connsiteX11" fmla="*/ 219742 w 439483"/>
              <a:gd name="connsiteY11" fmla="*/ 0 h 439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9483" h="439483">
                <a:moveTo>
                  <a:pt x="219742" y="87916"/>
                </a:moveTo>
                <a:cubicBezTo>
                  <a:pt x="292418" y="87916"/>
                  <a:pt x="351568" y="147066"/>
                  <a:pt x="351568" y="219742"/>
                </a:cubicBezTo>
                <a:cubicBezTo>
                  <a:pt x="351568" y="292417"/>
                  <a:pt x="292418" y="351568"/>
                  <a:pt x="219742" y="351568"/>
                </a:cubicBezTo>
                <a:cubicBezTo>
                  <a:pt x="147066" y="351568"/>
                  <a:pt x="87916" y="292417"/>
                  <a:pt x="87916" y="219742"/>
                </a:cubicBezTo>
                <a:cubicBezTo>
                  <a:pt x="87916" y="147066"/>
                  <a:pt x="147066" y="87916"/>
                  <a:pt x="219742" y="87916"/>
                </a:cubicBezTo>
                <a:lnTo>
                  <a:pt x="219742" y="87916"/>
                </a:lnTo>
                <a:close/>
                <a:moveTo>
                  <a:pt x="219742" y="0"/>
                </a:moveTo>
                <a:cubicBezTo>
                  <a:pt x="98393" y="0"/>
                  <a:pt x="0" y="98393"/>
                  <a:pt x="0" y="219742"/>
                </a:cubicBezTo>
                <a:cubicBezTo>
                  <a:pt x="0" y="341090"/>
                  <a:pt x="98393" y="439483"/>
                  <a:pt x="219742" y="439483"/>
                </a:cubicBezTo>
                <a:cubicBezTo>
                  <a:pt x="341090" y="439483"/>
                  <a:pt x="439484" y="341090"/>
                  <a:pt x="439484" y="219742"/>
                </a:cubicBezTo>
                <a:cubicBezTo>
                  <a:pt x="439484" y="98393"/>
                  <a:pt x="341090" y="0"/>
                  <a:pt x="219742" y="0"/>
                </a:cubicBezTo>
                <a:lnTo>
                  <a:pt x="219742" y="0"/>
                </a:lnTo>
                <a:close/>
              </a:path>
            </a:pathLst>
          </a:custGeom>
          <a:solidFill>
            <a:srgbClr val="99CC3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33" name="Group 20">
            <a:extLst>
              <a:ext uri="{FF2B5EF4-FFF2-40B4-BE49-F238E27FC236}">
                <a16:creationId xmlns:a16="http://schemas.microsoft.com/office/drawing/2014/main" id="{B697BDC3-669B-419C-BC46-5C3C4456EE4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83849" y="971115"/>
            <a:ext cx="848198" cy="232981"/>
            <a:chOff x="2906" y="1735"/>
            <a:chExt cx="1864" cy="512"/>
          </a:xfrm>
          <a:solidFill>
            <a:schemeClr val="tx2"/>
          </a:solidFill>
        </p:grpSpPr>
        <p:sp>
          <p:nvSpPr>
            <p:cNvPr id="42" name="Oval 21">
              <a:extLst>
                <a:ext uri="{FF2B5EF4-FFF2-40B4-BE49-F238E27FC236}">
                  <a16:creationId xmlns:a16="http://schemas.microsoft.com/office/drawing/2014/main" id="{47CF7937-74A1-4469-9205-9BFF63144D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6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6" name="Oval 22">
              <a:extLst>
                <a:ext uri="{FF2B5EF4-FFF2-40B4-BE49-F238E27FC236}">
                  <a16:creationId xmlns:a16="http://schemas.microsoft.com/office/drawing/2014/main" id="{96DB5480-6521-4C6F-91D9-4C5AC89BD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1" name="Oval 23">
              <a:extLst>
                <a:ext uri="{FF2B5EF4-FFF2-40B4-BE49-F238E27FC236}">
                  <a16:creationId xmlns:a16="http://schemas.microsoft.com/office/drawing/2014/main" id="{18294D1B-4F92-492C-B28D-1BF730C9E5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3" name="Oval 24">
              <a:extLst>
                <a:ext uri="{FF2B5EF4-FFF2-40B4-BE49-F238E27FC236}">
                  <a16:creationId xmlns:a16="http://schemas.microsoft.com/office/drawing/2014/main" id="{65CCA70A-979E-407A-B692-33170FEC8A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4" name="Oval 25">
              <a:extLst>
                <a:ext uri="{FF2B5EF4-FFF2-40B4-BE49-F238E27FC236}">
                  <a16:creationId xmlns:a16="http://schemas.microsoft.com/office/drawing/2014/main" id="{E9C7FDD3-7F66-4206-A692-0379A26D77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1735"/>
              <a:ext cx="172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6" name="Oval 26">
              <a:extLst>
                <a:ext uri="{FF2B5EF4-FFF2-40B4-BE49-F238E27FC236}">
                  <a16:creationId xmlns:a16="http://schemas.microsoft.com/office/drawing/2014/main" id="{77473605-6972-4CF6-83D0-1DB6CAD51F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58" name="Oval 27">
              <a:extLst>
                <a:ext uri="{FF2B5EF4-FFF2-40B4-BE49-F238E27FC236}">
                  <a16:creationId xmlns:a16="http://schemas.microsoft.com/office/drawing/2014/main" id="{62905180-4260-4300-BAC6-C55F46799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Oval 28">
              <a:extLst>
                <a:ext uri="{FF2B5EF4-FFF2-40B4-BE49-F238E27FC236}">
                  <a16:creationId xmlns:a16="http://schemas.microsoft.com/office/drawing/2014/main" id="{F1CA9F12-739A-4945-AE0E-A5D04F842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7" name="Oval 29">
              <a:extLst>
                <a:ext uri="{FF2B5EF4-FFF2-40B4-BE49-F238E27FC236}">
                  <a16:creationId xmlns:a16="http://schemas.microsoft.com/office/drawing/2014/main" id="{2662400B-2FD5-4ED2-8BE1-FE8420F1BF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2075"/>
              <a:ext cx="172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8" name="Oval 30">
              <a:extLst>
                <a:ext uri="{FF2B5EF4-FFF2-40B4-BE49-F238E27FC236}">
                  <a16:creationId xmlns:a16="http://schemas.microsoft.com/office/drawing/2014/main" id="{E55B249F-6023-4CD5-92E2-55D9C2396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pic>
        <p:nvPicPr>
          <p:cNvPr id="3" name="Imagem 2" descr="Uma imagem contendo Logotipo&#10;&#10;Descrição gerada automaticamente">
            <a:extLst>
              <a:ext uri="{FF2B5EF4-FFF2-40B4-BE49-F238E27FC236}">
                <a16:creationId xmlns:a16="http://schemas.microsoft.com/office/drawing/2014/main" id="{4FCA439A-BDBE-4243-A777-9302E8AE28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972" y="5892977"/>
            <a:ext cx="1503435" cy="93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1674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Forma Livre: Forma 77">
            <a:extLst>
              <a:ext uri="{FF2B5EF4-FFF2-40B4-BE49-F238E27FC236}">
                <a16:creationId xmlns:a16="http://schemas.microsoft.com/office/drawing/2014/main" id="{2D491BC2-8019-47B5-8382-B34AA60B4208}"/>
              </a:ext>
            </a:extLst>
          </p:cNvPr>
          <p:cNvSpPr/>
          <p:nvPr userDrawn="1"/>
        </p:nvSpPr>
        <p:spPr>
          <a:xfrm>
            <a:off x="4982472" y="0"/>
            <a:ext cx="7209528" cy="3331312"/>
          </a:xfrm>
          <a:custGeom>
            <a:avLst/>
            <a:gdLst>
              <a:gd name="connsiteX0" fmla="*/ 439 w 7209528"/>
              <a:gd name="connsiteY0" fmla="*/ 0 h 3331312"/>
              <a:gd name="connsiteX1" fmla="*/ 7209528 w 7209528"/>
              <a:gd name="connsiteY1" fmla="*/ 0 h 3331312"/>
              <a:gd name="connsiteX2" fmla="*/ 7209528 w 7209528"/>
              <a:gd name="connsiteY2" fmla="*/ 3331312 h 3331312"/>
              <a:gd name="connsiteX3" fmla="*/ 7081392 w 7209528"/>
              <a:gd name="connsiteY3" fmla="*/ 3235367 h 3331312"/>
              <a:gd name="connsiteX4" fmla="*/ 3282944 w 7209528"/>
              <a:gd name="connsiteY4" fmla="*/ 2522119 h 3331312"/>
              <a:gd name="connsiteX5" fmla="*/ 0 w 7209528"/>
              <a:gd name="connsiteY5" fmla="*/ 80921 h 3331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09528" h="3331312">
                <a:moveTo>
                  <a:pt x="439" y="0"/>
                </a:moveTo>
                <a:lnTo>
                  <a:pt x="7209528" y="0"/>
                </a:lnTo>
                <a:lnTo>
                  <a:pt x="7209528" y="3331312"/>
                </a:lnTo>
                <a:lnTo>
                  <a:pt x="7081392" y="3235367"/>
                </a:lnTo>
                <a:cubicBezTo>
                  <a:pt x="6345472" y="2712263"/>
                  <a:pt x="5327101" y="2363602"/>
                  <a:pt x="3282944" y="2522119"/>
                </a:cubicBezTo>
                <a:cubicBezTo>
                  <a:pt x="1081934" y="2692936"/>
                  <a:pt x="60333" y="1527915"/>
                  <a:pt x="0" y="80921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6" name="Espaço Reservado para Texto 3">
            <a:extLst>
              <a:ext uri="{FF2B5EF4-FFF2-40B4-BE49-F238E27FC236}">
                <a16:creationId xmlns:a16="http://schemas.microsoft.com/office/drawing/2014/main" id="{8505C5C3-AB22-4B14-B625-A847D23D1C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0643" y="3938555"/>
            <a:ext cx="2132843" cy="768860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</a:t>
            </a:r>
            <a:r>
              <a:rPr lang="pt-BR"/>
              <a:t>.</a:t>
            </a:r>
          </a:p>
        </p:txBody>
      </p:sp>
      <p:sp>
        <p:nvSpPr>
          <p:cNvPr id="17" name="Espaço Reservado para Texto 111">
            <a:extLst>
              <a:ext uri="{FF2B5EF4-FFF2-40B4-BE49-F238E27FC236}">
                <a16:creationId xmlns:a16="http://schemas.microsoft.com/office/drawing/2014/main" id="{F0E1AB98-9D1F-4F18-905E-F40945F7BD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67739" y="850688"/>
            <a:ext cx="2807274" cy="1895044"/>
          </a:xfrm>
          <a:custGeom>
            <a:avLst/>
            <a:gdLst>
              <a:gd name="connsiteX0" fmla="*/ 1638995 w 2807274"/>
              <a:gd name="connsiteY0" fmla="*/ 0 h 1895044"/>
              <a:gd name="connsiteX1" fmla="*/ 1726899 w 2807274"/>
              <a:gd name="connsiteY1" fmla="*/ 66915 h 1895044"/>
              <a:gd name="connsiteX2" fmla="*/ 1817639 w 2807274"/>
              <a:gd name="connsiteY2" fmla="*/ 369373 h 1895044"/>
              <a:gd name="connsiteX3" fmla="*/ 1817639 w 2807274"/>
              <a:gd name="connsiteY3" fmla="*/ 481791 h 1895044"/>
              <a:gd name="connsiteX4" fmla="*/ 1789283 w 2807274"/>
              <a:gd name="connsiteY4" fmla="*/ 492497 h 1895044"/>
              <a:gd name="connsiteX5" fmla="*/ 1916886 w 2807274"/>
              <a:gd name="connsiteY5" fmla="*/ 567443 h 1895044"/>
              <a:gd name="connsiteX6" fmla="*/ 1956585 w 2807274"/>
              <a:gd name="connsiteY6" fmla="*/ 567443 h 1895044"/>
              <a:gd name="connsiteX7" fmla="*/ 1956585 w 2807274"/>
              <a:gd name="connsiteY7" fmla="*/ 481791 h 1895044"/>
              <a:gd name="connsiteX8" fmla="*/ 2047325 w 2807274"/>
              <a:gd name="connsiteY8" fmla="*/ 417552 h 1895044"/>
              <a:gd name="connsiteX9" fmla="*/ 2098367 w 2807274"/>
              <a:gd name="connsiteY9" fmla="*/ 481791 h 1895044"/>
              <a:gd name="connsiteX10" fmla="*/ 2197614 w 2807274"/>
              <a:gd name="connsiteY10" fmla="*/ 369373 h 1895044"/>
              <a:gd name="connsiteX11" fmla="*/ 2237312 w 2807274"/>
              <a:gd name="connsiteY11" fmla="*/ 369373 h 1895044"/>
              <a:gd name="connsiteX12" fmla="*/ 2237312 w 2807274"/>
              <a:gd name="connsiteY12" fmla="*/ 321194 h 1895044"/>
              <a:gd name="connsiteX13" fmla="*/ 2285518 w 2807274"/>
              <a:gd name="connsiteY13" fmla="*/ 283721 h 1895044"/>
              <a:gd name="connsiteX14" fmla="*/ 2427300 w 2807274"/>
              <a:gd name="connsiteY14" fmla="*/ 283721 h 1895044"/>
              <a:gd name="connsiteX15" fmla="*/ 2427300 w 2807274"/>
              <a:gd name="connsiteY15" fmla="*/ 404169 h 1895044"/>
              <a:gd name="connsiteX16" fmla="*/ 2566246 w 2807274"/>
              <a:gd name="connsiteY16" fmla="*/ 567443 h 1895044"/>
              <a:gd name="connsiteX17" fmla="*/ 2656986 w 2807274"/>
              <a:gd name="connsiteY17" fmla="*/ 623652 h 1895044"/>
              <a:gd name="connsiteX18" fmla="*/ 2719370 w 2807274"/>
              <a:gd name="connsiteY18" fmla="*/ 623652 h 1895044"/>
              <a:gd name="connsiteX19" fmla="*/ 2787425 w 2807274"/>
              <a:gd name="connsiteY19" fmla="*/ 658448 h 1895044"/>
              <a:gd name="connsiteX20" fmla="*/ 2807274 w 2807274"/>
              <a:gd name="connsiteY20" fmla="*/ 706627 h 1895044"/>
              <a:gd name="connsiteX21" fmla="*/ 2506697 w 2807274"/>
              <a:gd name="connsiteY21" fmla="*/ 1397194 h 1895044"/>
              <a:gd name="connsiteX22" fmla="*/ 2557739 w 2807274"/>
              <a:gd name="connsiteY22" fmla="*/ 1480169 h 1895044"/>
              <a:gd name="connsiteX23" fmla="*/ 2506697 w 2807274"/>
              <a:gd name="connsiteY23" fmla="*/ 1517641 h 1895044"/>
              <a:gd name="connsiteX24" fmla="*/ 2506697 w 2807274"/>
              <a:gd name="connsiteY24" fmla="*/ 1670208 h 1895044"/>
              <a:gd name="connsiteX25" fmla="*/ 2007626 w 2807274"/>
              <a:gd name="connsiteY25" fmla="*/ 1726417 h 1895044"/>
              <a:gd name="connsiteX26" fmla="*/ 1857338 w 2807274"/>
              <a:gd name="connsiteY26" fmla="*/ 1678238 h 1895044"/>
              <a:gd name="connsiteX27" fmla="*/ 1777940 w 2807274"/>
              <a:gd name="connsiteY27" fmla="*/ 1573850 h 1895044"/>
              <a:gd name="connsiteX28" fmla="*/ 1627652 w 2807274"/>
              <a:gd name="connsiteY28" fmla="*/ 1573850 h 1895044"/>
              <a:gd name="connsiteX29" fmla="*/ 1638995 w 2807274"/>
              <a:gd name="connsiteY29" fmla="*/ 1630059 h 1895044"/>
              <a:gd name="connsiteX30" fmla="*/ 1596460 w 2807274"/>
              <a:gd name="connsiteY30" fmla="*/ 1662179 h 1895044"/>
              <a:gd name="connsiteX31" fmla="*/ 1587953 w 2807274"/>
              <a:gd name="connsiteY31" fmla="*/ 1726417 h 1895044"/>
              <a:gd name="connsiteX32" fmla="*/ 1528405 w 2807274"/>
              <a:gd name="connsiteY32" fmla="*/ 1726417 h 1895044"/>
              <a:gd name="connsiteX33" fmla="*/ 1397966 w 2807274"/>
              <a:gd name="connsiteY33" fmla="*/ 1801363 h 1895044"/>
              <a:gd name="connsiteX34" fmla="*/ 1327075 w 2807274"/>
              <a:gd name="connsiteY34" fmla="*/ 1828129 h 1895044"/>
              <a:gd name="connsiteX35" fmla="*/ 1267527 w 2807274"/>
              <a:gd name="connsiteY35" fmla="*/ 1820099 h 1895044"/>
              <a:gd name="connsiteX36" fmla="*/ 1219321 w 2807274"/>
              <a:gd name="connsiteY36" fmla="*/ 1820099 h 1895044"/>
              <a:gd name="connsiteX37" fmla="*/ 1148430 w 2807274"/>
              <a:gd name="connsiteY37" fmla="*/ 1895044 h 1895044"/>
              <a:gd name="connsiteX38" fmla="*/ 558619 w 2807274"/>
              <a:gd name="connsiteY38" fmla="*/ 1678238 h 1895044"/>
              <a:gd name="connsiteX39" fmla="*/ 0 w 2807274"/>
              <a:gd name="connsiteY39" fmla="*/ 1517641 h 1895044"/>
              <a:gd name="connsiteX40" fmla="*/ 42535 w 2807274"/>
              <a:gd name="connsiteY40" fmla="*/ 1480169 h 1895044"/>
              <a:gd name="connsiteX41" fmla="*/ 87905 w 2807274"/>
              <a:gd name="connsiteY41" fmla="*/ 1450726 h 1895044"/>
              <a:gd name="connsiteX42" fmla="*/ 79398 w 2807274"/>
              <a:gd name="connsiteY42" fmla="*/ 1397194 h 1895044"/>
              <a:gd name="connsiteX43" fmla="*/ 121932 w 2807274"/>
              <a:gd name="connsiteY43" fmla="*/ 1319572 h 1895044"/>
              <a:gd name="connsiteX44" fmla="*/ 121932 w 2807274"/>
              <a:gd name="connsiteY44" fmla="*/ 1274069 h 1895044"/>
              <a:gd name="connsiteX45" fmla="*/ 249536 w 2807274"/>
              <a:gd name="connsiteY45" fmla="*/ 1102766 h 1895044"/>
              <a:gd name="connsiteX46" fmla="*/ 399824 w 2807274"/>
              <a:gd name="connsiteY46" fmla="*/ 1113472 h 1895044"/>
              <a:gd name="connsiteX47" fmla="*/ 448030 w 2807274"/>
              <a:gd name="connsiteY47" fmla="*/ 1076000 h 1895044"/>
              <a:gd name="connsiteX48" fmla="*/ 586976 w 2807274"/>
              <a:gd name="connsiteY48" fmla="*/ 1067970 h 1895044"/>
              <a:gd name="connsiteX49" fmla="*/ 586976 w 2807274"/>
              <a:gd name="connsiteY49" fmla="*/ 1038527 h 1895044"/>
              <a:gd name="connsiteX50" fmla="*/ 689058 w 2807274"/>
              <a:gd name="connsiteY50" fmla="*/ 615622 h 1895044"/>
              <a:gd name="connsiteX51" fmla="*/ 638017 w 2807274"/>
              <a:gd name="connsiteY51" fmla="*/ 575472 h 1895044"/>
              <a:gd name="connsiteX52" fmla="*/ 629510 w 2807274"/>
              <a:gd name="connsiteY52" fmla="*/ 527293 h 1895044"/>
              <a:gd name="connsiteX53" fmla="*/ 550112 w 2807274"/>
              <a:gd name="connsiteY53" fmla="*/ 425582 h 1895044"/>
              <a:gd name="connsiteX54" fmla="*/ 550112 w 2807274"/>
              <a:gd name="connsiteY54" fmla="*/ 321194 h 1895044"/>
              <a:gd name="connsiteX55" fmla="*/ 649359 w 2807274"/>
              <a:gd name="connsiteY55" fmla="*/ 283721 h 1895044"/>
              <a:gd name="connsiteX56" fmla="*/ 697565 w 2807274"/>
              <a:gd name="connsiteY56" fmla="*/ 321194 h 1895044"/>
              <a:gd name="connsiteX57" fmla="*/ 689058 w 2807274"/>
              <a:gd name="connsiteY57" fmla="*/ 246249 h 1895044"/>
              <a:gd name="connsiteX58" fmla="*/ 601154 w 2807274"/>
              <a:gd name="connsiteY58" fmla="*/ 246249 h 1895044"/>
              <a:gd name="connsiteX59" fmla="*/ 586976 w 2807274"/>
              <a:gd name="connsiteY59" fmla="*/ 152567 h 1895044"/>
              <a:gd name="connsiteX60" fmla="*/ 870539 w 2807274"/>
              <a:gd name="connsiteY60" fmla="*/ 152567 h 1895044"/>
              <a:gd name="connsiteX61" fmla="*/ 847854 w 2807274"/>
              <a:gd name="connsiteY61" fmla="*/ 115095 h 1895044"/>
              <a:gd name="connsiteX62" fmla="*/ 879046 w 2807274"/>
              <a:gd name="connsiteY62" fmla="*/ 123124 h 1895044"/>
              <a:gd name="connsiteX63" fmla="*/ 918744 w 2807274"/>
              <a:gd name="connsiteY63" fmla="*/ 141861 h 1895044"/>
              <a:gd name="connsiteX64" fmla="*/ 1009484 w 2807274"/>
              <a:gd name="connsiteY64" fmla="*/ 66915 h 1895044"/>
              <a:gd name="connsiteX65" fmla="*/ 1017991 w 2807274"/>
              <a:gd name="connsiteY65" fmla="*/ 131154 h 1895044"/>
              <a:gd name="connsiteX66" fmla="*/ 1057690 w 2807274"/>
              <a:gd name="connsiteY66" fmla="*/ 198070 h 1895044"/>
              <a:gd name="connsiteX67" fmla="*/ 1108732 w 2807274"/>
              <a:gd name="connsiteY67" fmla="*/ 206099 h 1895044"/>
              <a:gd name="connsiteX68" fmla="*/ 1168280 w 2807274"/>
              <a:gd name="connsiteY68" fmla="*/ 283721 h 1895044"/>
              <a:gd name="connsiteX69" fmla="*/ 1219321 w 2807274"/>
              <a:gd name="connsiteY69" fmla="*/ 254279 h 1895044"/>
              <a:gd name="connsiteX70" fmla="*/ 1267527 w 2807274"/>
              <a:gd name="connsiteY70" fmla="*/ 235542 h 1895044"/>
              <a:gd name="connsiteX71" fmla="*/ 1278869 w 2807274"/>
              <a:gd name="connsiteY71" fmla="*/ 273015 h 1895044"/>
              <a:gd name="connsiteX72" fmla="*/ 1298719 w 2807274"/>
              <a:gd name="connsiteY72" fmla="*/ 294428 h 1895044"/>
              <a:gd name="connsiteX73" fmla="*/ 1349760 w 2807274"/>
              <a:gd name="connsiteY73" fmla="*/ 246249 h 1895044"/>
              <a:gd name="connsiteX74" fmla="*/ 1369610 w 2807274"/>
              <a:gd name="connsiteY74" fmla="*/ 198070 h 1895044"/>
              <a:gd name="connsiteX75" fmla="*/ 1449007 w 2807274"/>
              <a:gd name="connsiteY75" fmla="*/ 198070 h 1895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2807274" h="1895044">
                <a:moveTo>
                  <a:pt x="1638995" y="0"/>
                </a:moveTo>
                <a:lnTo>
                  <a:pt x="1726899" y="66915"/>
                </a:lnTo>
                <a:lnTo>
                  <a:pt x="1817639" y="369373"/>
                </a:lnTo>
                <a:lnTo>
                  <a:pt x="1817639" y="481791"/>
                </a:lnTo>
                <a:lnTo>
                  <a:pt x="1789283" y="492497"/>
                </a:lnTo>
                <a:lnTo>
                  <a:pt x="1916886" y="567443"/>
                </a:lnTo>
                <a:lnTo>
                  <a:pt x="1956585" y="567443"/>
                </a:lnTo>
                <a:lnTo>
                  <a:pt x="1956585" y="481791"/>
                </a:lnTo>
                <a:lnTo>
                  <a:pt x="2047325" y="417552"/>
                </a:lnTo>
                <a:lnTo>
                  <a:pt x="2098367" y="481791"/>
                </a:lnTo>
                <a:lnTo>
                  <a:pt x="2197614" y="369373"/>
                </a:lnTo>
                <a:lnTo>
                  <a:pt x="2237312" y="369373"/>
                </a:lnTo>
                <a:lnTo>
                  <a:pt x="2237312" y="321194"/>
                </a:lnTo>
                <a:lnTo>
                  <a:pt x="2285518" y="283721"/>
                </a:lnTo>
                <a:lnTo>
                  <a:pt x="2427300" y="283721"/>
                </a:lnTo>
                <a:lnTo>
                  <a:pt x="2427300" y="404169"/>
                </a:lnTo>
                <a:lnTo>
                  <a:pt x="2566246" y="567443"/>
                </a:lnTo>
                <a:lnTo>
                  <a:pt x="2656986" y="623652"/>
                </a:lnTo>
                <a:lnTo>
                  <a:pt x="2719370" y="623652"/>
                </a:lnTo>
                <a:lnTo>
                  <a:pt x="2787425" y="658448"/>
                </a:lnTo>
                <a:lnTo>
                  <a:pt x="2807274" y="706627"/>
                </a:lnTo>
                <a:lnTo>
                  <a:pt x="2506697" y="1397194"/>
                </a:lnTo>
                <a:lnTo>
                  <a:pt x="2557739" y="1480169"/>
                </a:lnTo>
                <a:lnTo>
                  <a:pt x="2506697" y="1517641"/>
                </a:lnTo>
                <a:lnTo>
                  <a:pt x="2506697" y="1670208"/>
                </a:lnTo>
                <a:lnTo>
                  <a:pt x="2007626" y="1726417"/>
                </a:lnTo>
                <a:lnTo>
                  <a:pt x="1857338" y="1678238"/>
                </a:lnTo>
                <a:lnTo>
                  <a:pt x="1777940" y="1573850"/>
                </a:lnTo>
                <a:lnTo>
                  <a:pt x="1627652" y="1573850"/>
                </a:lnTo>
                <a:lnTo>
                  <a:pt x="1638995" y="1630059"/>
                </a:lnTo>
                <a:lnTo>
                  <a:pt x="1596460" y="1662179"/>
                </a:lnTo>
                <a:lnTo>
                  <a:pt x="1587953" y="1726417"/>
                </a:lnTo>
                <a:lnTo>
                  <a:pt x="1528405" y="1726417"/>
                </a:lnTo>
                <a:lnTo>
                  <a:pt x="1397966" y="1801363"/>
                </a:lnTo>
                <a:lnTo>
                  <a:pt x="1327075" y="1828129"/>
                </a:lnTo>
                <a:lnTo>
                  <a:pt x="1267527" y="1820099"/>
                </a:lnTo>
                <a:lnTo>
                  <a:pt x="1219321" y="1820099"/>
                </a:lnTo>
                <a:lnTo>
                  <a:pt x="1148430" y="1895044"/>
                </a:lnTo>
                <a:lnTo>
                  <a:pt x="558619" y="1678238"/>
                </a:lnTo>
                <a:lnTo>
                  <a:pt x="0" y="1517641"/>
                </a:lnTo>
                <a:lnTo>
                  <a:pt x="42535" y="1480169"/>
                </a:lnTo>
                <a:lnTo>
                  <a:pt x="87905" y="1450726"/>
                </a:lnTo>
                <a:lnTo>
                  <a:pt x="79398" y="1397194"/>
                </a:lnTo>
                <a:lnTo>
                  <a:pt x="121932" y="1319572"/>
                </a:lnTo>
                <a:lnTo>
                  <a:pt x="121932" y="1274069"/>
                </a:lnTo>
                <a:lnTo>
                  <a:pt x="249536" y="1102766"/>
                </a:lnTo>
                <a:lnTo>
                  <a:pt x="399824" y="1113472"/>
                </a:lnTo>
                <a:lnTo>
                  <a:pt x="448030" y="1076000"/>
                </a:lnTo>
                <a:lnTo>
                  <a:pt x="586976" y="1067970"/>
                </a:lnTo>
                <a:lnTo>
                  <a:pt x="586976" y="1038527"/>
                </a:lnTo>
                <a:lnTo>
                  <a:pt x="689058" y="615622"/>
                </a:lnTo>
                <a:lnTo>
                  <a:pt x="638017" y="575472"/>
                </a:lnTo>
                <a:lnTo>
                  <a:pt x="629510" y="527293"/>
                </a:lnTo>
                <a:lnTo>
                  <a:pt x="550112" y="425582"/>
                </a:lnTo>
                <a:lnTo>
                  <a:pt x="550112" y="321194"/>
                </a:lnTo>
                <a:lnTo>
                  <a:pt x="649359" y="283721"/>
                </a:lnTo>
                <a:lnTo>
                  <a:pt x="697565" y="321194"/>
                </a:lnTo>
                <a:lnTo>
                  <a:pt x="689058" y="246249"/>
                </a:lnTo>
                <a:lnTo>
                  <a:pt x="601154" y="246249"/>
                </a:lnTo>
                <a:lnTo>
                  <a:pt x="586976" y="152567"/>
                </a:lnTo>
                <a:lnTo>
                  <a:pt x="870539" y="152567"/>
                </a:lnTo>
                <a:lnTo>
                  <a:pt x="847854" y="115095"/>
                </a:lnTo>
                <a:lnTo>
                  <a:pt x="879046" y="123124"/>
                </a:lnTo>
                <a:lnTo>
                  <a:pt x="918744" y="141861"/>
                </a:lnTo>
                <a:lnTo>
                  <a:pt x="1009484" y="66915"/>
                </a:lnTo>
                <a:lnTo>
                  <a:pt x="1017991" y="131154"/>
                </a:lnTo>
                <a:lnTo>
                  <a:pt x="1057690" y="198070"/>
                </a:lnTo>
                <a:lnTo>
                  <a:pt x="1108732" y="206099"/>
                </a:lnTo>
                <a:lnTo>
                  <a:pt x="1168280" y="283721"/>
                </a:lnTo>
                <a:lnTo>
                  <a:pt x="1219321" y="254279"/>
                </a:lnTo>
                <a:lnTo>
                  <a:pt x="1267527" y="235542"/>
                </a:lnTo>
                <a:lnTo>
                  <a:pt x="1278869" y="273015"/>
                </a:lnTo>
                <a:lnTo>
                  <a:pt x="1298719" y="294428"/>
                </a:lnTo>
                <a:lnTo>
                  <a:pt x="1349760" y="246249"/>
                </a:lnTo>
                <a:lnTo>
                  <a:pt x="1369610" y="198070"/>
                </a:lnTo>
                <a:lnTo>
                  <a:pt x="1449007" y="1980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20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pt-BR"/>
              <a:t>e</a:t>
            </a:r>
          </a:p>
        </p:txBody>
      </p:sp>
      <p:sp>
        <p:nvSpPr>
          <p:cNvPr id="22" name="Espaço Reservado para Texto 117">
            <a:extLst>
              <a:ext uri="{FF2B5EF4-FFF2-40B4-BE49-F238E27FC236}">
                <a16:creationId xmlns:a16="http://schemas.microsoft.com/office/drawing/2014/main" id="{3A95A7E4-5FB2-47D8-BFF9-0AEA48381C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5966" y="2360630"/>
            <a:ext cx="1209966" cy="619607"/>
          </a:xfrm>
          <a:custGeom>
            <a:avLst/>
            <a:gdLst>
              <a:gd name="connsiteX0" fmla="*/ 42505 w 1209966"/>
              <a:gd name="connsiteY0" fmla="*/ 0 h 619607"/>
              <a:gd name="connsiteX1" fmla="*/ 600733 w 1209966"/>
              <a:gd name="connsiteY1" fmla="*/ 159556 h 619607"/>
              <a:gd name="connsiteX2" fmla="*/ 1209966 w 1209966"/>
              <a:gd name="connsiteY2" fmla="*/ 374955 h 619607"/>
              <a:gd name="connsiteX3" fmla="*/ 1071118 w 1209966"/>
              <a:gd name="connsiteY3" fmla="*/ 537170 h 619607"/>
              <a:gd name="connsiteX4" fmla="*/ 1020112 w 1209966"/>
              <a:gd name="connsiteY4" fmla="*/ 537170 h 619607"/>
              <a:gd name="connsiteX5" fmla="*/ 969106 w 1209966"/>
              <a:gd name="connsiteY5" fmla="*/ 579718 h 619607"/>
              <a:gd name="connsiteX6" fmla="*/ 878430 w 1209966"/>
              <a:gd name="connsiteY6" fmla="*/ 619607 h 619607"/>
              <a:gd name="connsiteX7" fmla="*/ 745248 w 1209966"/>
              <a:gd name="connsiteY7" fmla="*/ 619607 h 619607"/>
              <a:gd name="connsiteX8" fmla="*/ 674407 w 1209966"/>
              <a:gd name="connsiteY8" fmla="*/ 619607 h 619607"/>
              <a:gd name="connsiteX9" fmla="*/ 600733 w 1209966"/>
              <a:gd name="connsiteY9" fmla="*/ 619607 h 619607"/>
              <a:gd name="connsiteX10" fmla="*/ 600733 w 1209966"/>
              <a:gd name="connsiteY10" fmla="*/ 385592 h 619607"/>
              <a:gd name="connsiteX11" fmla="*/ 558228 w 1209966"/>
              <a:gd name="connsiteY11" fmla="*/ 385592 h 619607"/>
              <a:gd name="connsiteX12" fmla="*/ 459050 w 1209966"/>
              <a:gd name="connsiteY12" fmla="*/ 470689 h 619607"/>
              <a:gd name="connsiteX13" fmla="*/ 371207 w 1209966"/>
              <a:gd name="connsiteY13" fmla="*/ 470689 h 619607"/>
              <a:gd name="connsiteX14" fmla="*/ 280531 w 1209966"/>
              <a:gd name="connsiteY14" fmla="*/ 385592 h 619607"/>
              <a:gd name="connsiteX15" fmla="*/ 181353 w 1209966"/>
              <a:gd name="connsiteY15" fmla="*/ 385592 h 619607"/>
              <a:gd name="connsiteX16" fmla="*/ 181353 w 1209966"/>
              <a:gd name="connsiteY16" fmla="*/ 292518 h 619607"/>
              <a:gd name="connsiteX17" fmla="*/ 138849 w 1209966"/>
              <a:gd name="connsiteY17" fmla="*/ 247311 h 619607"/>
              <a:gd name="connsiteX18" fmla="*/ 96344 w 1209966"/>
              <a:gd name="connsiteY18" fmla="*/ 207422 h 619607"/>
              <a:gd name="connsiteX19" fmla="*/ 48172 w 1209966"/>
              <a:gd name="connsiteY19" fmla="*/ 164874 h 619607"/>
              <a:gd name="connsiteX20" fmla="*/ 0 w 1209966"/>
              <a:gd name="connsiteY20" fmla="*/ 122326 h 619607"/>
              <a:gd name="connsiteX21" fmla="*/ 51006 w 1209966"/>
              <a:gd name="connsiteY21" fmla="*/ 55845 h 619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09966" h="619607">
                <a:moveTo>
                  <a:pt x="42505" y="0"/>
                </a:moveTo>
                <a:lnTo>
                  <a:pt x="600733" y="159556"/>
                </a:lnTo>
                <a:lnTo>
                  <a:pt x="1209966" y="374955"/>
                </a:lnTo>
                <a:lnTo>
                  <a:pt x="1071118" y="537170"/>
                </a:lnTo>
                <a:lnTo>
                  <a:pt x="1020112" y="537170"/>
                </a:lnTo>
                <a:lnTo>
                  <a:pt x="969106" y="579718"/>
                </a:lnTo>
                <a:lnTo>
                  <a:pt x="878430" y="619607"/>
                </a:lnTo>
                <a:lnTo>
                  <a:pt x="745248" y="619607"/>
                </a:lnTo>
                <a:lnTo>
                  <a:pt x="674407" y="619607"/>
                </a:lnTo>
                <a:lnTo>
                  <a:pt x="600733" y="619607"/>
                </a:lnTo>
                <a:lnTo>
                  <a:pt x="600733" y="385592"/>
                </a:lnTo>
                <a:lnTo>
                  <a:pt x="558228" y="385592"/>
                </a:lnTo>
                <a:lnTo>
                  <a:pt x="459050" y="470689"/>
                </a:lnTo>
                <a:lnTo>
                  <a:pt x="371207" y="470689"/>
                </a:lnTo>
                <a:lnTo>
                  <a:pt x="280531" y="385592"/>
                </a:lnTo>
                <a:lnTo>
                  <a:pt x="181353" y="385592"/>
                </a:lnTo>
                <a:lnTo>
                  <a:pt x="181353" y="292518"/>
                </a:lnTo>
                <a:lnTo>
                  <a:pt x="138849" y="247311"/>
                </a:lnTo>
                <a:lnTo>
                  <a:pt x="96344" y="207422"/>
                </a:lnTo>
                <a:lnTo>
                  <a:pt x="48172" y="164874"/>
                </a:lnTo>
                <a:lnTo>
                  <a:pt x="0" y="122326"/>
                </a:lnTo>
                <a:lnTo>
                  <a:pt x="51006" y="558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 marL="914400" indent="0">
              <a:buNone/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26" name="Espaço Reservado para Texto 121">
            <a:extLst>
              <a:ext uri="{FF2B5EF4-FFF2-40B4-BE49-F238E27FC236}">
                <a16:creationId xmlns:a16="http://schemas.microsoft.com/office/drawing/2014/main" id="{25D0A41A-CBFD-4E4F-B6CD-0622AF74F3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67542" y="395819"/>
            <a:ext cx="1027800" cy="1029501"/>
          </a:xfrm>
          <a:custGeom>
            <a:avLst/>
            <a:gdLst>
              <a:gd name="connsiteX0" fmla="*/ 702189 w 1027800"/>
              <a:gd name="connsiteY0" fmla="*/ 0 h 1029501"/>
              <a:gd name="connsiteX1" fmla="*/ 789962 w 1027800"/>
              <a:gd name="connsiteY1" fmla="*/ 0 h 1029501"/>
              <a:gd name="connsiteX2" fmla="*/ 840927 w 1027800"/>
              <a:gd name="connsiteY2" fmla="*/ 48258 h 1029501"/>
              <a:gd name="connsiteX3" fmla="*/ 789962 w 1027800"/>
              <a:gd name="connsiteY3" fmla="*/ 96516 h 1029501"/>
              <a:gd name="connsiteX4" fmla="*/ 840927 w 1027800"/>
              <a:gd name="connsiteY4" fmla="*/ 160860 h 1029501"/>
              <a:gd name="connsiteX5" fmla="*/ 889061 w 1027800"/>
              <a:gd name="connsiteY5" fmla="*/ 198393 h 1029501"/>
              <a:gd name="connsiteX6" fmla="*/ 889061 w 1027800"/>
              <a:gd name="connsiteY6" fmla="*/ 235927 h 1029501"/>
              <a:gd name="connsiteX7" fmla="*/ 840927 w 1027800"/>
              <a:gd name="connsiteY7" fmla="*/ 281504 h 1029501"/>
              <a:gd name="connsiteX8" fmla="*/ 840927 w 1027800"/>
              <a:gd name="connsiteY8" fmla="*/ 372658 h 1029501"/>
              <a:gd name="connsiteX9" fmla="*/ 840927 w 1027800"/>
              <a:gd name="connsiteY9" fmla="*/ 420916 h 1029501"/>
              <a:gd name="connsiteX10" fmla="*/ 840927 w 1027800"/>
              <a:gd name="connsiteY10" fmla="*/ 461131 h 1029501"/>
              <a:gd name="connsiteX11" fmla="*/ 889061 w 1027800"/>
              <a:gd name="connsiteY11" fmla="*/ 528155 h 1029501"/>
              <a:gd name="connsiteX12" fmla="*/ 979666 w 1027800"/>
              <a:gd name="connsiteY12" fmla="*/ 613947 h 1029501"/>
              <a:gd name="connsiteX13" fmla="*/ 1027800 w 1027800"/>
              <a:gd name="connsiteY13" fmla="*/ 613947 h 1029501"/>
              <a:gd name="connsiteX14" fmla="*/ 1027800 w 1027800"/>
              <a:gd name="connsiteY14" fmla="*/ 747997 h 1029501"/>
              <a:gd name="connsiteX15" fmla="*/ 889061 w 1027800"/>
              <a:gd name="connsiteY15" fmla="*/ 747997 h 1029501"/>
              <a:gd name="connsiteX16" fmla="*/ 840927 w 1027800"/>
              <a:gd name="connsiteY16" fmla="*/ 782850 h 1029501"/>
              <a:gd name="connsiteX17" fmla="*/ 840927 w 1027800"/>
              <a:gd name="connsiteY17" fmla="*/ 831108 h 1029501"/>
              <a:gd name="connsiteX18" fmla="*/ 789962 w 1027800"/>
              <a:gd name="connsiteY18" fmla="*/ 831108 h 1029501"/>
              <a:gd name="connsiteX19" fmla="*/ 702189 w 1027800"/>
              <a:gd name="connsiteY19" fmla="*/ 946390 h 1029501"/>
              <a:gd name="connsiteX20" fmla="*/ 651223 w 1027800"/>
              <a:gd name="connsiteY20" fmla="*/ 879366 h 1029501"/>
              <a:gd name="connsiteX21" fmla="*/ 557787 w 1027800"/>
              <a:gd name="connsiteY21" fmla="*/ 946390 h 1029501"/>
              <a:gd name="connsiteX22" fmla="*/ 557787 w 1027800"/>
              <a:gd name="connsiteY22" fmla="*/ 1029501 h 1029501"/>
              <a:gd name="connsiteX23" fmla="*/ 509653 w 1027800"/>
              <a:gd name="connsiteY23" fmla="*/ 1029501 h 1029501"/>
              <a:gd name="connsiteX24" fmla="*/ 390734 w 1027800"/>
              <a:gd name="connsiteY24" fmla="*/ 954433 h 1029501"/>
              <a:gd name="connsiteX25" fmla="*/ 419048 w 1027800"/>
              <a:gd name="connsiteY25" fmla="*/ 946390 h 1029501"/>
              <a:gd name="connsiteX26" fmla="*/ 419048 w 1027800"/>
              <a:gd name="connsiteY26" fmla="*/ 831108 h 1029501"/>
              <a:gd name="connsiteX27" fmla="*/ 328443 w 1027800"/>
              <a:gd name="connsiteY27" fmla="*/ 528155 h 1029501"/>
              <a:gd name="connsiteX28" fmla="*/ 240670 w 1027800"/>
              <a:gd name="connsiteY28" fmla="*/ 461131 h 1029501"/>
              <a:gd name="connsiteX29" fmla="*/ 152896 w 1027800"/>
              <a:gd name="connsiteY29" fmla="*/ 461131 h 1029501"/>
              <a:gd name="connsiteX30" fmla="*/ 152896 w 1027800"/>
              <a:gd name="connsiteY30" fmla="*/ 418235 h 1029501"/>
              <a:gd name="connsiteX31" fmla="*/ 101931 w 1027800"/>
              <a:gd name="connsiteY31" fmla="*/ 378020 h 1029501"/>
              <a:gd name="connsiteX32" fmla="*/ 101931 w 1027800"/>
              <a:gd name="connsiteY32" fmla="*/ 281504 h 1029501"/>
              <a:gd name="connsiteX33" fmla="*/ 0 w 1027800"/>
              <a:gd name="connsiteY33" fmla="*/ 235927 h 1029501"/>
              <a:gd name="connsiteX34" fmla="*/ 0 w 1027800"/>
              <a:gd name="connsiteY34" fmla="*/ 198393 h 1029501"/>
              <a:gd name="connsiteX35" fmla="*/ 101931 w 1027800"/>
              <a:gd name="connsiteY35" fmla="*/ 198393 h 1029501"/>
              <a:gd name="connsiteX36" fmla="*/ 152896 w 1027800"/>
              <a:gd name="connsiteY36" fmla="*/ 235927 h 1029501"/>
              <a:gd name="connsiteX37" fmla="*/ 240670 w 1027800"/>
              <a:gd name="connsiteY37" fmla="*/ 235927 h 1029501"/>
              <a:gd name="connsiteX38" fmla="*/ 328443 w 1027800"/>
              <a:gd name="connsiteY38" fmla="*/ 281504 h 1029501"/>
              <a:gd name="connsiteX39" fmla="*/ 328443 w 1027800"/>
              <a:gd name="connsiteY39" fmla="*/ 235927 h 1029501"/>
              <a:gd name="connsiteX40" fmla="*/ 419048 w 1027800"/>
              <a:gd name="connsiteY40" fmla="*/ 198393 h 1029501"/>
              <a:gd name="connsiteX41" fmla="*/ 509653 w 1027800"/>
              <a:gd name="connsiteY41" fmla="*/ 198393 h 1029501"/>
              <a:gd name="connsiteX42" fmla="*/ 557787 w 1027800"/>
              <a:gd name="connsiteY42" fmla="*/ 160860 h 1029501"/>
              <a:gd name="connsiteX43" fmla="*/ 651223 w 1027800"/>
              <a:gd name="connsiteY43" fmla="*/ 160860 h 1029501"/>
              <a:gd name="connsiteX44" fmla="*/ 747491 w 1027800"/>
              <a:gd name="connsiteY44" fmla="*/ 48258 h 102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027800" h="1029501">
                <a:moveTo>
                  <a:pt x="702189" y="0"/>
                </a:moveTo>
                <a:lnTo>
                  <a:pt x="789962" y="0"/>
                </a:lnTo>
                <a:lnTo>
                  <a:pt x="840927" y="48258"/>
                </a:lnTo>
                <a:lnTo>
                  <a:pt x="789962" y="96516"/>
                </a:lnTo>
                <a:lnTo>
                  <a:pt x="840927" y="160860"/>
                </a:lnTo>
                <a:lnTo>
                  <a:pt x="889061" y="198393"/>
                </a:lnTo>
                <a:lnTo>
                  <a:pt x="889061" y="235927"/>
                </a:lnTo>
                <a:lnTo>
                  <a:pt x="840927" y="281504"/>
                </a:lnTo>
                <a:lnTo>
                  <a:pt x="840927" y="372658"/>
                </a:lnTo>
                <a:lnTo>
                  <a:pt x="840927" y="420916"/>
                </a:lnTo>
                <a:lnTo>
                  <a:pt x="840927" y="461131"/>
                </a:lnTo>
                <a:lnTo>
                  <a:pt x="889061" y="528155"/>
                </a:lnTo>
                <a:lnTo>
                  <a:pt x="979666" y="613947"/>
                </a:lnTo>
                <a:lnTo>
                  <a:pt x="1027800" y="613947"/>
                </a:lnTo>
                <a:lnTo>
                  <a:pt x="1027800" y="747997"/>
                </a:lnTo>
                <a:lnTo>
                  <a:pt x="889061" y="747997"/>
                </a:lnTo>
                <a:lnTo>
                  <a:pt x="840927" y="782850"/>
                </a:lnTo>
                <a:lnTo>
                  <a:pt x="840927" y="831108"/>
                </a:lnTo>
                <a:lnTo>
                  <a:pt x="789962" y="831108"/>
                </a:lnTo>
                <a:lnTo>
                  <a:pt x="702189" y="946390"/>
                </a:lnTo>
                <a:lnTo>
                  <a:pt x="651223" y="879366"/>
                </a:lnTo>
                <a:lnTo>
                  <a:pt x="557787" y="946390"/>
                </a:lnTo>
                <a:lnTo>
                  <a:pt x="557787" y="1029501"/>
                </a:lnTo>
                <a:lnTo>
                  <a:pt x="509653" y="1029501"/>
                </a:lnTo>
                <a:lnTo>
                  <a:pt x="390734" y="954433"/>
                </a:lnTo>
                <a:lnTo>
                  <a:pt x="419048" y="946390"/>
                </a:lnTo>
                <a:lnTo>
                  <a:pt x="419048" y="831108"/>
                </a:lnTo>
                <a:lnTo>
                  <a:pt x="328443" y="528155"/>
                </a:lnTo>
                <a:lnTo>
                  <a:pt x="240670" y="461131"/>
                </a:lnTo>
                <a:lnTo>
                  <a:pt x="152896" y="461131"/>
                </a:lnTo>
                <a:lnTo>
                  <a:pt x="152896" y="418235"/>
                </a:lnTo>
                <a:lnTo>
                  <a:pt x="101931" y="378020"/>
                </a:lnTo>
                <a:lnTo>
                  <a:pt x="101931" y="281504"/>
                </a:lnTo>
                <a:lnTo>
                  <a:pt x="0" y="235927"/>
                </a:lnTo>
                <a:lnTo>
                  <a:pt x="0" y="198393"/>
                </a:lnTo>
                <a:lnTo>
                  <a:pt x="101931" y="198393"/>
                </a:lnTo>
                <a:lnTo>
                  <a:pt x="152896" y="235927"/>
                </a:lnTo>
                <a:lnTo>
                  <a:pt x="240670" y="235927"/>
                </a:lnTo>
                <a:lnTo>
                  <a:pt x="328443" y="281504"/>
                </a:lnTo>
                <a:lnTo>
                  <a:pt x="328443" y="235927"/>
                </a:lnTo>
                <a:lnTo>
                  <a:pt x="419048" y="198393"/>
                </a:lnTo>
                <a:lnTo>
                  <a:pt x="509653" y="198393"/>
                </a:lnTo>
                <a:lnTo>
                  <a:pt x="557787" y="160860"/>
                </a:lnTo>
                <a:lnTo>
                  <a:pt x="651223" y="160860"/>
                </a:lnTo>
                <a:lnTo>
                  <a:pt x="747491" y="482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pt-BR"/>
              <a:t> </a:t>
            </a:r>
          </a:p>
        </p:txBody>
      </p:sp>
      <p:sp>
        <p:nvSpPr>
          <p:cNvPr id="28" name="Espaço Reservado para Texto 125">
            <a:extLst>
              <a:ext uri="{FF2B5EF4-FFF2-40B4-BE49-F238E27FC236}">
                <a16:creationId xmlns:a16="http://schemas.microsoft.com/office/drawing/2014/main" id="{DD0885F1-7FED-473D-B3CD-DD9D243311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95341" y="796228"/>
            <a:ext cx="2080528" cy="1893137"/>
          </a:xfrm>
          <a:custGeom>
            <a:avLst/>
            <a:gdLst>
              <a:gd name="connsiteX0" fmla="*/ 439948 w 2080528"/>
              <a:gd name="connsiteY0" fmla="*/ 0 h 1893137"/>
              <a:gd name="connsiteX1" fmla="*/ 669856 w 2080528"/>
              <a:gd name="connsiteY1" fmla="*/ 0 h 1893137"/>
              <a:gd name="connsiteX2" fmla="*/ 669856 w 2080528"/>
              <a:gd name="connsiteY2" fmla="*/ 101753 h 1893137"/>
              <a:gd name="connsiteX3" fmla="*/ 720947 w 2080528"/>
              <a:gd name="connsiteY3" fmla="*/ 112464 h 1893137"/>
              <a:gd name="connsiteX4" fmla="*/ 757846 w 2080528"/>
              <a:gd name="connsiteY4" fmla="*/ 149951 h 1893137"/>
              <a:gd name="connsiteX5" fmla="*/ 851512 w 2080528"/>
              <a:gd name="connsiteY5" fmla="*/ 149951 h 1893137"/>
              <a:gd name="connsiteX6" fmla="*/ 950855 w 2080528"/>
              <a:gd name="connsiteY6" fmla="*/ 232960 h 1893137"/>
              <a:gd name="connsiteX7" fmla="*/ 950855 w 2080528"/>
              <a:gd name="connsiteY7" fmla="*/ 366846 h 1893137"/>
              <a:gd name="connsiteX8" fmla="*/ 999108 w 2080528"/>
              <a:gd name="connsiteY8" fmla="*/ 415044 h 1893137"/>
              <a:gd name="connsiteX9" fmla="*/ 1038845 w 2080528"/>
              <a:gd name="connsiteY9" fmla="*/ 516797 h 1893137"/>
              <a:gd name="connsiteX10" fmla="*/ 1129673 w 2080528"/>
              <a:gd name="connsiteY10" fmla="*/ 564996 h 1893137"/>
              <a:gd name="connsiteX11" fmla="*/ 1129673 w 2080528"/>
              <a:gd name="connsiteY11" fmla="*/ 613194 h 1893137"/>
              <a:gd name="connsiteX12" fmla="*/ 999108 w 2080528"/>
              <a:gd name="connsiteY12" fmla="*/ 613194 h 1893137"/>
              <a:gd name="connsiteX13" fmla="*/ 1078582 w 2080528"/>
              <a:gd name="connsiteY13" fmla="*/ 648005 h 1893137"/>
              <a:gd name="connsiteX14" fmla="*/ 1220501 w 2080528"/>
              <a:gd name="connsiteY14" fmla="*/ 564996 h 1893137"/>
              <a:gd name="connsiteX15" fmla="*/ 1271592 w 2080528"/>
              <a:gd name="connsiteY15" fmla="*/ 564996 h 1893137"/>
              <a:gd name="connsiteX16" fmla="*/ 1319844 w 2080528"/>
              <a:gd name="connsiteY16" fmla="*/ 564996 h 1893137"/>
              <a:gd name="connsiteX17" fmla="*/ 1319844 w 2080528"/>
              <a:gd name="connsiteY17" fmla="*/ 613194 h 1893137"/>
              <a:gd name="connsiteX18" fmla="*/ 1319844 w 2080528"/>
              <a:gd name="connsiteY18" fmla="*/ 648005 h 1893137"/>
              <a:gd name="connsiteX19" fmla="*/ 1271592 w 2080528"/>
              <a:gd name="connsiteY19" fmla="*/ 648005 h 1893137"/>
              <a:gd name="connsiteX20" fmla="*/ 1319844 w 2080528"/>
              <a:gd name="connsiteY20" fmla="*/ 696203 h 1893137"/>
              <a:gd name="connsiteX21" fmla="*/ 1359581 w 2080528"/>
              <a:gd name="connsiteY21" fmla="*/ 648005 h 1893137"/>
              <a:gd name="connsiteX22" fmla="*/ 1359581 w 2080528"/>
              <a:gd name="connsiteY22" fmla="*/ 696203 h 1893137"/>
              <a:gd name="connsiteX23" fmla="*/ 1410672 w 2080528"/>
              <a:gd name="connsiteY23" fmla="*/ 696203 h 1893137"/>
              <a:gd name="connsiteX24" fmla="*/ 1461763 w 2080528"/>
              <a:gd name="connsiteY24" fmla="*/ 648005 h 1893137"/>
              <a:gd name="connsiteX25" fmla="*/ 1461763 w 2080528"/>
              <a:gd name="connsiteY25" fmla="*/ 696203 h 1893137"/>
              <a:gd name="connsiteX26" fmla="*/ 1498662 w 2080528"/>
              <a:gd name="connsiteY26" fmla="*/ 696203 h 1893137"/>
              <a:gd name="connsiteX27" fmla="*/ 1549752 w 2080528"/>
              <a:gd name="connsiteY27" fmla="*/ 648005 h 1893137"/>
              <a:gd name="connsiteX28" fmla="*/ 1549752 w 2080528"/>
              <a:gd name="connsiteY28" fmla="*/ 696203 h 1893137"/>
              <a:gd name="connsiteX29" fmla="*/ 1498662 w 2080528"/>
              <a:gd name="connsiteY29" fmla="*/ 779212 h 1893137"/>
              <a:gd name="connsiteX30" fmla="*/ 1549752 w 2080528"/>
              <a:gd name="connsiteY30" fmla="*/ 779212 h 1893137"/>
              <a:gd name="connsiteX31" fmla="*/ 1600843 w 2080528"/>
              <a:gd name="connsiteY31" fmla="*/ 696203 h 1893137"/>
              <a:gd name="connsiteX32" fmla="*/ 1688833 w 2080528"/>
              <a:gd name="connsiteY32" fmla="*/ 613194 h 1893137"/>
              <a:gd name="connsiteX33" fmla="*/ 1739923 w 2080528"/>
              <a:gd name="connsiteY33" fmla="*/ 613194 h 1893137"/>
              <a:gd name="connsiteX34" fmla="*/ 1779661 w 2080528"/>
              <a:gd name="connsiteY34" fmla="*/ 516797 h 1893137"/>
              <a:gd name="connsiteX35" fmla="*/ 1870489 w 2080528"/>
              <a:gd name="connsiteY35" fmla="*/ 449854 h 1893137"/>
              <a:gd name="connsiteX36" fmla="*/ 1870489 w 2080528"/>
              <a:gd name="connsiteY36" fmla="*/ 516797 h 1893137"/>
              <a:gd name="connsiteX37" fmla="*/ 1890357 w 2080528"/>
              <a:gd name="connsiteY37" fmla="*/ 449854 h 1893137"/>
              <a:gd name="connsiteX38" fmla="*/ 1989700 w 2080528"/>
              <a:gd name="connsiteY38" fmla="*/ 516797 h 1893137"/>
              <a:gd name="connsiteX39" fmla="*/ 2037953 w 2080528"/>
              <a:gd name="connsiteY39" fmla="*/ 564996 h 1893137"/>
              <a:gd name="connsiteX40" fmla="*/ 2080528 w 2080528"/>
              <a:gd name="connsiteY40" fmla="*/ 564996 h 1893137"/>
              <a:gd name="connsiteX41" fmla="*/ 2080528 w 2080528"/>
              <a:gd name="connsiteY41" fmla="*/ 696203 h 1893137"/>
              <a:gd name="connsiteX42" fmla="*/ 1989700 w 2080528"/>
              <a:gd name="connsiteY42" fmla="*/ 779212 h 1893137"/>
              <a:gd name="connsiteX43" fmla="*/ 1989700 w 2080528"/>
              <a:gd name="connsiteY43" fmla="*/ 886320 h 1893137"/>
              <a:gd name="connsiteX44" fmla="*/ 1941448 w 2080528"/>
              <a:gd name="connsiteY44" fmla="*/ 931841 h 1893137"/>
              <a:gd name="connsiteX45" fmla="*/ 1870489 w 2080528"/>
              <a:gd name="connsiteY45" fmla="*/ 1065726 h 1893137"/>
              <a:gd name="connsiteX46" fmla="*/ 1717216 w 2080528"/>
              <a:gd name="connsiteY46" fmla="*/ 1159446 h 1893137"/>
              <a:gd name="connsiteX47" fmla="*/ 1768307 w 2080528"/>
              <a:gd name="connsiteY47" fmla="*/ 1204967 h 1893137"/>
              <a:gd name="connsiteX48" fmla="*/ 1731408 w 2080528"/>
              <a:gd name="connsiteY48" fmla="*/ 1346885 h 1893137"/>
              <a:gd name="connsiteX49" fmla="*/ 1637742 w 2080528"/>
              <a:gd name="connsiteY49" fmla="*/ 1395084 h 1893137"/>
              <a:gd name="connsiteX50" fmla="*/ 1600843 w 2080528"/>
              <a:gd name="connsiteY50" fmla="*/ 1443283 h 1893137"/>
              <a:gd name="connsiteX51" fmla="*/ 1600843 w 2080528"/>
              <a:gd name="connsiteY51" fmla="*/ 1478093 h 1893137"/>
              <a:gd name="connsiteX52" fmla="*/ 1549752 w 2080528"/>
              <a:gd name="connsiteY52" fmla="*/ 1526292 h 1893137"/>
              <a:gd name="connsiteX53" fmla="*/ 1600843 w 2080528"/>
              <a:gd name="connsiteY53" fmla="*/ 1563780 h 1893137"/>
              <a:gd name="connsiteX54" fmla="*/ 1549752 w 2080528"/>
              <a:gd name="connsiteY54" fmla="*/ 1676243 h 1893137"/>
              <a:gd name="connsiteX55" fmla="*/ 1498662 w 2080528"/>
              <a:gd name="connsiteY55" fmla="*/ 1761930 h 1893137"/>
              <a:gd name="connsiteX56" fmla="*/ 1410672 w 2080528"/>
              <a:gd name="connsiteY56" fmla="*/ 1893137 h 1893137"/>
              <a:gd name="connsiteX57" fmla="*/ 340605 w 2080528"/>
              <a:gd name="connsiteY57" fmla="*/ 1855649 h 1893137"/>
              <a:gd name="connsiteX58" fmla="*/ 292353 w 2080528"/>
              <a:gd name="connsiteY58" fmla="*/ 1810128 h 1893137"/>
              <a:gd name="connsiteX59" fmla="*/ 269646 w 2080528"/>
              <a:gd name="connsiteY59" fmla="*/ 1761930 h 1893137"/>
              <a:gd name="connsiteX60" fmla="*/ 221393 w 2080528"/>
              <a:gd name="connsiteY60" fmla="*/ 1724442 h 1893137"/>
              <a:gd name="connsiteX61" fmla="*/ 221393 w 2080528"/>
              <a:gd name="connsiteY61" fmla="*/ 1611978 h 1893137"/>
              <a:gd name="connsiteX62" fmla="*/ 139080 w 2080528"/>
              <a:gd name="connsiteY62" fmla="*/ 1526292 h 1893137"/>
              <a:gd name="connsiteX63" fmla="*/ 79475 w 2080528"/>
              <a:gd name="connsiteY63" fmla="*/ 1443283 h 1893137"/>
              <a:gd name="connsiteX64" fmla="*/ 210040 w 2080528"/>
              <a:gd name="connsiteY64" fmla="*/ 1148735 h 1893137"/>
              <a:gd name="connsiteX65" fmla="*/ 380342 w 2080528"/>
              <a:gd name="connsiteY65" fmla="*/ 744402 h 1893137"/>
              <a:gd name="connsiteX66" fmla="*/ 340605 w 2080528"/>
              <a:gd name="connsiteY66" fmla="*/ 696203 h 1893137"/>
              <a:gd name="connsiteX67" fmla="*/ 278161 w 2080528"/>
              <a:gd name="connsiteY67" fmla="*/ 658715 h 1893137"/>
              <a:gd name="connsiteX68" fmla="*/ 232747 w 2080528"/>
              <a:gd name="connsiteY68" fmla="*/ 669426 h 1893137"/>
              <a:gd name="connsiteX69" fmla="*/ 139080 w 2080528"/>
              <a:gd name="connsiteY69" fmla="*/ 613194 h 1893137"/>
              <a:gd name="connsiteX70" fmla="*/ 0 w 2080528"/>
              <a:gd name="connsiteY70" fmla="*/ 449854 h 1893137"/>
              <a:gd name="connsiteX71" fmla="*/ 0 w 2080528"/>
              <a:gd name="connsiteY71" fmla="*/ 187439 h 1893137"/>
              <a:gd name="connsiteX72" fmla="*/ 90828 w 2080528"/>
              <a:gd name="connsiteY72" fmla="*/ 149951 h 1893137"/>
              <a:gd name="connsiteX73" fmla="*/ 139080 w 2080528"/>
              <a:gd name="connsiteY73" fmla="*/ 149951 h 1893137"/>
              <a:gd name="connsiteX74" fmla="*/ 181656 w 2080528"/>
              <a:gd name="connsiteY74" fmla="*/ 149951 h 1893137"/>
              <a:gd name="connsiteX75" fmla="*/ 232747 w 2080528"/>
              <a:gd name="connsiteY75" fmla="*/ 112464 h 1893137"/>
              <a:gd name="connsiteX76" fmla="*/ 295191 w 2080528"/>
              <a:gd name="connsiteY76" fmla="*/ 112464 h 1893137"/>
              <a:gd name="connsiteX77" fmla="*/ 357635 w 2080528"/>
              <a:gd name="connsiteY77" fmla="*/ 112464 h 1893137"/>
              <a:gd name="connsiteX78" fmla="*/ 488200 w 2080528"/>
              <a:gd name="connsiteY78" fmla="*/ 112464 h 1893137"/>
              <a:gd name="connsiteX79" fmla="*/ 439948 w 2080528"/>
              <a:gd name="connsiteY79" fmla="*/ 37488 h 1893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080528" h="1893137">
                <a:moveTo>
                  <a:pt x="439948" y="0"/>
                </a:moveTo>
                <a:lnTo>
                  <a:pt x="669856" y="0"/>
                </a:lnTo>
                <a:lnTo>
                  <a:pt x="669856" y="101753"/>
                </a:lnTo>
                <a:lnTo>
                  <a:pt x="720947" y="112464"/>
                </a:lnTo>
                <a:lnTo>
                  <a:pt x="757846" y="149951"/>
                </a:lnTo>
                <a:lnTo>
                  <a:pt x="851512" y="149951"/>
                </a:lnTo>
                <a:lnTo>
                  <a:pt x="950855" y="232960"/>
                </a:lnTo>
                <a:lnTo>
                  <a:pt x="950855" y="366846"/>
                </a:lnTo>
                <a:lnTo>
                  <a:pt x="999108" y="415044"/>
                </a:lnTo>
                <a:lnTo>
                  <a:pt x="1038845" y="516797"/>
                </a:lnTo>
                <a:lnTo>
                  <a:pt x="1129673" y="564996"/>
                </a:lnTo>
                <a:lnTo>
                  <a:pt x="1129673" y="613194"/>
                </a:lnTo>
                <a:lnTo>
                  <a:pt x="999108" y="613194"/>
                </a:lnTo>
                <a:lnTo>
                  <a:pt x="1078582" y="648005"/>
                </a:lnTo>
                <a:lnTo>
                  <a:pt x="1220501" y="564996"/>
                </a:lnTo>
                <a:lnTo>
                  <a:pt x="1271592" y="564996"/>
                </a:lnTo>
                <a:lnTo>
                  <a:pt x="1319844" y="564996"/>
                </a:lnTo>
                <a:lnTo>
                  <a:pt x="1319844" y="613194"/>
                </a:lnTo>
                <a:lnTo>
                  <a:pt x="1319844" y="648005"/>
                </a:lnTo>
                <a:lnTo>
                  <a:pt x="1271592" y="648005"/>
                </a:lnTo>
                <a:lnTo>
                  <a:pt x="1319844" y="696203"/>
                </a:lnTo>
                <a:lnTo>
                  <a:pt x="1359581" y="648005"/>
                </a:lnTo>
                <a:lnTo>
                  <a:pt x="1359581" y="696203"/>
                </a:lnTo>
                <a:lnTo>
                  <a:pt x="1410672" y="696203"/>
                </a:lnTo>
                <a:lnTo>
                  <a:pt x="1461763" y="648005"/>
                </a:lnTo>
                <a:lnTo>
                  <a:pt x="1461763" y="696203"/>
                </a:lnTo>
                <a:lnTo>
                  <a:pt x="1498662" y="696203"/>
                </a:lnTo>
                <a:lnTo>
                  <a:pt x="1549752" y="648005"/>
                </a:lnTo>
                <a:lnTo>
                  <a:pt x="1549752" y="696203"/>
                </a:lnTo>
                <a:lnTo>
                  <a:pt x="1498662" y="779212"/>
                </a:lnTo>
                <a:lnTo>
                  <a:pt x="1549752" y="779212"/>
                </a:lnTo>
                <a:lnTo>
                  <a:pt x="1600843" y="696203"/>
                </a:lnTo>
                <a:lnTo>
                  <a:pt x="1688833" y="613194"/>
                </a:lnTo>
                <a:lnTo>
                  <a:pt x="1739923" y="613194"/>
                </a:lnTo>
                <a:lnTo>
                  <a:pt x="1779661" y="516797"/>
                </a:lnTo>
                <a:lnTo>
                  <a:pt x="1870489" y="449854"/>
                </a:lnTo>
                <a:lnTo>
                  <a:pt x="1870489" y="516797"/>
                </a:lnTo>
                <a:lnTo>
                  <a:pt x="1890357" y="449854"/>
                </a:lnTo>
                <a:lnTo>
                  <a:pt x="1989700" y="516797"/>
                </a:lnTo>
                <a:lnTo>
                  <a:pt x="2037953" y="564996"/>
                </a:lnTo>
                <a:lnTo>
                  <a:pt x="2080528" y="564996"/>
                </a:lnTo>
                <a:lnTo>
                  <a:pt x="2080528" y="696203"/>
                </a:lnTo>
                <a:lnTo>
                  <a:pt x="1989700" y="779212"/>
                </a:lnTo>
                <a:lnTo>
                  <a:pt x="1989700" y="886320"/>
                </a:lnTo>
                <a:lnTo>
                  <a:pt x="1941448" y="931841"/>
                </a:lnTo>
                <a:lnTo>
                  <a:pt x="1870489" y="1065726"/>
                </a:lnTo>
                <a:lnTo>
                  <a:pt x="1717216" y="1159446"/>
                </a:lnTo>
                <a:lnTo>
                  <a:pt x="1768307" y="1204967"/>
                </a:lnTo>
                <a:lnTo>
                  <a:pt x="1731408" y="1346885"/>
                </a:lnTo>
                <a:lnTo>
                  <a:pt x="1637742" y="1395084"/>
                </a:lnTo>
                <a:lnTo>
                  <a:pt x="1600843" y="1443283"/>
                </a:lnTo>
                <a:lnTo>
                  <a:pt x="1600843" y="1478093"/>
                </a:lnTo>
                <a:lnTo>
                  <a:pt x="1549752" y="1526292"/>
                </a:lnTo>
                <a:lnTo>
                  <a:pt x="1600843" y="1563780"/>
                </a:lnTo>
                <a:lnTo>
                  <a:pt x="1549752" y="1676243"/>
                </a:lnTo>
                <a:lnTo>
                  <a:pt x="1498662" y="1761930"/>
                </a:lnTo>
                <a:lnTo>
                  <a:pt x="1410672" y="1893137"/>
                </a:lnTo>
                <a:lnTo>
                  <a:pt x="340605" y="1855649"/>
                </a:lnTo>
                <a:lnTo>
                  <a:pt x="292353" y="1810128"/>
                </a:lnTo>
                <a:lnTo>
                  <a:pt x="269646" y="1761930"/>
                </a:lnTo>
                <a:lnTo>
                  <a:pt x="221393" y="1724442"/>
                </a:lnTo>
                <a:lnTo>
                  <a:pt x="221393" y="1611978"/>
                </a:lnTo>
                <a:lnTo>
                  <a:pt x="139080" y="1526292"/>
                </a:lnTo>
                <a:lnTo>
                  <a:pt x="79475" y="1443283"/>
                </a:lnTo>
                <a:lnTo>
                  <a:pt x="210040" y="1148735"/>
                </a:lnTo>
                <a:lnTo>
                  <a:pt x="380342" y="744402"/>
                </a:lnTo>
                <a:lnTo>
                  <a:pt x="340605" y="696203"/>
                </a:lnTo>
                <a:lnTo>
                  <a:pt x="278161" y="658715"/>
                </a:lnTo>
                <a:lnTo>
                  <a:pt x="232747" y="669426"/>
                </a:lnTo>
                <a:lnTo>
                  <a:pt x="139080" y="613194"/>
                </a:lnTo>
                <a:lnTo>
                  <a:pt x="0" y="449854"/>
                </a:lnTo>
                <a:lnTo>
                  <a:pt x="0" y="187439"/>
                </a:lnTo>
                <a:lnTo>
                  <a:pt x="90828" y="149951"/>
                </a:lnTo>
                <a:lnTo>
                  <a:pt x="139080" y="149951"/>
                </a:lnTo>
                <a:lnTo>
                  <a:pt x="181656" y="149951"/>
                </a:lnTo>
                <a:lnTo>
                  <a:pt x="232747" y="112464"/>
                </a:lnTo>
                <a:lnTo>
                  <a:pt x="295191" y="112464"/>
                </a:lnTo>
                <a:lnTo>
                  <a:pt x="357635" y="112464"/>
                </a:lnTo>
                <a:lnTo>
                  <a:pt x="488200" y="112464"/>
                </a:lnTo>
                <a:lnTo>
                  <a:pt x="439948" y="374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29" name="Espaço Reservado para Texto 129">
            <a:extLst>
              <a:ext uri="{FF2B5EF4-FFF2-40B4-BE49-F238E27FC236}">
                <a16:creationId xmlns:a16="http://schemas.microsoft.com/office/drawing/2014/main" id="{C6B0FED2-FB6E-4058-AB7D-73399BA70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8397" y="553489"/>
            <a:ext cx="788108" cy="835039"/>
          </a:xfrm>
          <a:custGeom>
            <a:avLst/>
            <a:gdLst>
              <a:gd name="connsiteX0" fmla="*/ 509283 w 788108"/>
              <a:gd name="connsiteY0" fmla="*/ 0 h 835039"/>
              <a:gd name="connsiteX1" fmla="*/ 597483 w 788108"/>
              <a:gd name="connsiteY1" fmla="*/ 40275 h 835039"/>
              <a:gd name="connsiteX2" fmla="*/ 648696 w 788108"/>
              <a:gd name="connsiteY2" fmla="*/ 255076 h 835039"/>
              <a:gd name="connsiteX3" fmla="*/ 648696 w 788108"/>
              <a:gd name="connsiteY3" fmla="*/ 303407 h 835039"/>
              <a:gd name="connsiteX4" fmla="*/ 685683 w 788108"/>
              <a:gd name="connsiteY4" fmla="*/ 303407 h 835039"/>
              <a:gd name="connsiteX5" fmla="*/ 685683 w 788108"/>
              <a:gd name="connsiteY5" fmla="*/ 378587 h 835039"/>
              <a:gd name="connsiteX6" fmla="*/ 788108 w 788108"/>
              <a:gd name="connsiteY6" fmla="*/ 418862 h 835039"/>
              <a:gd name="connsiteX7" fmla="*/ 788108 w 788108"/>
              <a:gd name="connsiteY7" fmla="*/ 467192 h 835039"/>
              <a:gd name="connsiteX8" fmla="*/ 736895 w 788108"/>
              <a:gd name="connsiteY8" fmla="*/ 550428 h 835039"/>
              <a:gd name="connsiteX9" fmla="*/ 685683 w 788108"/>
              <a:gd name="connsiteY9" fmla="*/ 588018 h 835039"/>
              <a:gd name="connsiteX10" fmla="*/ 597483 w 788108"/>
              <a:gd name="connsiteY10" fmla="*/ 636348 h 835039"/>
              <a:gd name="connsiteX11" fmla="*/ 597483 w 788108"/>
              <a:gd name="connsiteY11" fmla="*/ 673938 h 835039"/>
              <a:gd name="connsiteX12" fmla="*/ 557651 w 788108"/>
              <a:gd name="connsiteY12" fmla="*/ 719584 h 835039"/>
              <a:gd name="connsiteX13" fmla="*/ 509283 w 788108"/>
              <a:gd name="connsiteY13" fmla="*/ 733009 h 835039"/>
              <a:gd name="connsiteX14" fmla="*/ 497902 w 788108"/>
              <a:gd name="connsiteY14" fmla="*/ 786709 h 835039"/>
              <a:gd name="connsiteX15" fmla="*/ 458070 w 788108"/>
              <a:gd name="connsiteY15" fmla="*/ 835039 h 835039"/>
              <a:gd name="connsiteX16" fmla="*/ 367025 w 788108"/>
              <a:gd name="connsiteY16" fmla="*/ 786709 h 835039"/>
              <a:gd name="connsiteX17" fmla="*/ 330038 w 788108"/>
              <a:gd name="connsiteY17" fmla="*/ 692733 h 835039"/>
              <a:gd name="connsiteX18" fmla="*/ 278825 w 788108"/>
              <a:gd name="connsiteY18" fmla="*/ 636348 h 835039"/>
              <a:gd name="connsiteX19" fmla="*/ 270290 w 788108"/>
              <a:gd name="connsiteY19" fmla="*/ 502097 h 835039"/>
              <a:gd name="connsiteX20" fmla="*/ 179245 w 788108"/>
              <a:gd name="connsiteY20" fmla="*/ 418862 h 835039"/>
              <a:gd name="connsiteX21" fmla="*/ 88200 w 788108"/>
              <a:gd name="connsiteY21" fmla="*/ 418862 h 835039"/>
              <a:gd name="connsiteX22" fmla="*/ 51213 w 788108"/>
              <a:gd name="connsiteY22" fmla="*/ 378587 h 835039"/>
              <a:gd name="connsiteX23" fmla="*/ 0 w 788108"/>
              <a:gd name="connsiteY23" fmla="*/ 370532 h 835039"/>
              <a:gd name="connsiteX24" fmla="*/ 0 w 788108"/>
              <a:gd name="connsiteY24" fmla="*/ 268501 h 835039"/>
              <a:gd name="connsiteX25" fmla="*/ 51213 w 788108"/>
              <a:gd name="connsiteY25" fmla="*/ 268501 h 835039"/>
              <a:gd name="connsiteX26" fmla="*/ 88200 w 788108"/>
              <a:gd name="connsiteY26" fmla="*/ 303407 h 835039"/>
              <a:gd name="connsiteX27" fmla="*/ 139413 w 788108"/>
              <a:gd name="connsiteY27" fmla="*/ 303407 h 835039"/>
              <a:gd name="connsiteX28" fmla="*/ 139413 w 788108"/>
              <a:gd name="connsiteY28" fmla="*/ 268501 h 835039"/>
              <a:gd name="connsiteX29" fmla="*/ 179245 w 788108"/>
              <a:gd name="connsiteY29" fmla="*/ 303407 h 835039"/>
              <a:gd name="connsiteX30" fmla="*/ 241838 w 788108"/>
              <a:gd name="connsiteY30" fmla="*/ 268501 h 835039"/>
              <a:gd name="connsiteX31" fmla="*/ 278825 w 788108"/>
              <a:gd name="connsiteY31" fmla="*/ 303407 h 835039"/>
              <a:gd name="connsiteX32" fmla="*/ 330038 w 788108"/>
              <a:gd name="connsiteY32" fmla="*/ 303407 h 835039"/>
              <a:gd name="connsiteX33" fmla="*/ 367025 w 788108"/>
              <a:gd name="connsiteY33" fmla="*/ 268501 h 835039"/>
              <a:gd name="connsiteX34" fmla="*/ 458070 w 788108"/>
              <a:gd name="connsiteY34" fmla="*/ 85920 h 835039"/>
              <a:gd name="connsiteX35" fmla="*/ 509283 w 788108"/>
              <a:gd name="connsiteY35" fmla="*/ 40275 h 835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788108" h="835039">
                <a:moveTo>
                  <a:pt x="509283" y="0"/>
                </a:moveTo>
                <a:lnTo>
                  <a:pt x="597483" y="40275"/>
                </a:lnTo>
                <a:lnTo>
                  <a:pt x="648696" y="255076"/>
                </a:lnTo>
                <a:lnTo>
                  <a:pt x="648696" y="303407"/>
                </a:lnTo>
                <a:lnTo>
                  <a:pt x="685683" y="303407"/>
                </a:lnTo>
                <a:lnTo>
                  <a:pt x="685683" y="378587"/>
                </a:lnTo>
                <a:lnTo>
                  <a:pt x="788108" y="418862"/>
                </a:lnTo>
                <a:lnTo>
                  <a:pt x="788108" y="467192"/>
                </a:lnTo>
                <a:lnTo>
                  <a:pt x="736895" y="550428"/>
                </a:lnTo>
                <a:lnTo>
                  <a:pt x="685683" y="588018"/>
                </a:lnTo>
                <a:lnTo>
                  <a:pt x="597483" y="636348"/>
                </a:lnTo>
                <a:lnTo>
                  <a:pt x="597483" y="673938"/>
                </a:lnTo>
                <a:lnTo>
                  <a:pt x="557651" y="719584"/>
                </a:lnTo>
                <a:lnTo>
                  <a:pt x="509283" y="733009"/>
                </a:lnTo>
                <a:lnTo>
                  <a:pt x="497902" y="786709"/>
                </a:lnTo>
                <a:lnTo>
                  <a:pt x="458070" y="835039"/>
                </a:lnTo>
                <a:lnTo>
                  <a:pt x="367025" y="786709"/>
                </a:lnTo>
                <a:lnTo>
                  <a:pt x="330038" y="692733"/>
                </a:lnTo>
                <a:lnTo>
                  <a:pt x="278825" y="636348"/>
                </a:lnTo>
                <a:lnTo>
                  <a:pt x="270290" y="502097"/>
                </a:lnTo>
                <a:lnTo>
                  <a:pt x="179245" y="418862"/>
                </a:lnTo>
                <a:lnTo>
                  <a:pt x="88200" y="418862"/>
                </a:lnTo>
                <a:lnTo>
                  <a:pt x="51213" y="378587"/>
                </a:lnTo>
                <a:lnTo>
                  <a:pt x="0" y="370532"/>
                </a:lnTo>
                <a:lnTo>
                  <a:pt x="0" y="268501"/>
                </a:lnTo>
                <a:lnTo>
                  <a:pt x="51213" y="268501"/>
                </a:lnTo>
                <a:lnTo>
                  <a:pt x="88200" y="303407"/>
                </a:lnTo>
                <a:lnTo>
                  <a:pt x="139413" y="303407"/>
                </a:lnTo>
                <a:lnTo>
                  <a:pt x="139413" y="268501"/>
                </a:lnTo>
                <a:lnTo>
                  <a:pt x="179245" y="303407"/>
                </a:lnTo>
                <a:lnTo>
                  <a:pt x="241838" y="268501"/>
                </a:lnTo>
                <a:lnTo>
                  <a:pt x="278825" y="303407"/>
                </a:lnTo>
                <a:lnTo>
                  <a:pt x="330038" y="303407"/>
                </a:lnTo>
                <a:lnTo>
                  <a:pt x="367025" y="268501"/>
                </a:lnTo>
                <a:lnTo>
                  <a:pt x="458070" y="85920"/>
                </a:lnTo>
                <a:lnTo>
                  <a:pt x="509283" y="402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dirty="0" smtClean="0"/>
            </a:lvl2pPr>
            <a:lvl3pPr marL="914400" indent="0">
              <a:buNone/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r>
              <a:rPr lang="pt-BR"/>
              <a:t>nível</a:t>
            </a:r>
          </a:p>
        </p:txBody>
      </p:sp>
      <p:sp>
        <p:nvSpPr>
          <p:cNvPr id="30" name="Espaço Reservado para Texto 133">
            <a:extLst>
              <a:ext uri="{FF2B5EF4-FFF2-40B4-BE49-F238E27FC236}">
                <a16:creationId xmlns:a16="http://schemas.microsoft.com/office/drawing/2014/main" id="{001B5BAF-600C-469C-9A87-8E17B99F18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45107" y="2412105"/>
            <a:ext cx="1110254" cy="899860"/>
          </a:xfrm>
          <a:custGeom>
            <a:avLst/>
            <a:gdLst>
              <a:gd name="connsiteX0" fmla="*/ 450333 w 1110254"/>
              <a:gd name="connsiteY0" fmla="*/ 0 h 899860"/>
              <a:gd name="connsiteX1" fmla="*/ 600444 w 1110254"/>
              <a:gd name="connsiteY1" fmla="*/ 0 h 899860"/>
              <a:gd name="connsiteX2" fmla="*/ 691077 w 1110254"/>
              <a:gd name="connsiteY2" fmla="*/ 104760 h 899860"/>
              <a:gd name="connsiteX3" fmla="*/ 821362 w 1110254"/>
              <a:gd name="connsiteY3" fmla="*/ 153111 h 899860"/>
              <a:gd name="connsiteX4" fmla="*/ 821362 w 1110254"/>
              <a:gd name="connsiteY4" fmla="*/ 206834 h 899860"/>
              <a:gd name="connsiteX5" fmla="*/ 821362 w 1110254"/>
              <a:gd name="connsiteY5" fmla="*/ 260557 h 899860"/>
              <a:gd name="connsiteX6" fmla="*/ 821362 w 1110254"/>
              <a:gd name="connsiteY6" fmla="*/ 359944 h 899860"/>
              <a:gd name="connsiteX7" fmla="*/ 923324 w 1110254"/>
              <a:gd name="connsiteY7" fmla="*/ 483507 h 899860"/>
              <a:gd name="connsiteX8" fmla="*/ 1062105 w 1110254"/>
              <a:gd name="connsiteY8" fmla="*/ 483507 h 899860"/>
              <a:gd name="connsiteX9" fmla="*/ 1062105 w 1110254"/>
              <a:gd name="connsiteY9" fmla="*/ 569464 h 899860"/>
              <a:gd name="connsiteX10" fmla="*/ 1110254 w 1110254"/>
              <a:gd name="connsiteY10" fmla="*/ 652734 h 899860"/>
              <a:gd name="connsiteX11" fmla="*/ 1110254 w 1110254"/>
              <a:gd name="connsiteY11" fmla="*/ 693027 h 899860"/>
              <a:gd name="connsiteX12" fmla="*/ 1062105 w 1110254"/>
              <a:gd name="connsiteY12" fmla="*/ 741377 h 899860"/>
              <a:gd name="connsiteX13" fmla="*/ 1022453 w 1110254"/>
              <a:gd name="connsiteY13" fmla="*/ 851509 h 899860"/>
              <a:gd name="connsiteX14" fmla="*/ 971472 w 1110254"/>
              <a:gd name="connsiteY14" fmla="*/ 899860 h 899860"/>
              <a:gd name="connsiteX15" fmla="*/ 778877 w 1110254"/>
              <a:gd name="connsiteY15" fmla="*/ 899860 h 899860"/>
              <a:gd name="connsiteX16" fmla="*/ 730729 w 1110254"/>
              <a:gd name="connsiteY16" fmla="*/ 851509 h 899860"/>
              <a:gd name="connsiteX17" fmla="*/ 679748 w 1110254"/>
              <a:gd name="connsiteY17" fmla="*/ 851509 h 899860"/>
              <a:gd name="connsiteX18" fmla="*/ 600444 w 1110254"/>
              <a:gd name="connsiteY18" fmla="*/ 784356 h 899860"/>
              <a:gd name="connsiteX19" fmla="*/ 600444 w 1110254"/>
              <a:gd name="connsiteY19" fmla="*/ 741377 h 899860"/>
              <a:gd name="connsiteX20" fmla="*/ 359700 w 1110254"/>
              <a:gd name="connsiteY20" fmla="*/ 741377 h 899860"/>
              <a:gd name="connsiteX21" fmla="*/ 320048 w 1110254"/>
              <a:gd name="connsiteY21" fmla="*/ 693027 h 899860"/>
              <a:gd name="connsiteX22" fmla="*/ 220918 w 1110254"/>
              <a:gd name="connsiteY22" fmla="*/ 652734 h 899860"/>
              <a:gd name="connsiteX23" fmla="*/ 181266 w 1110254"/>
              <a:gd name="connsiteY23" fmla="*/ 521113 h 899860"/>
              <a:gd name="connsiteX24" fmla="*/ 220918 w 1110254"/>
              <a:gd name="connsiteY24" fmla="*/ 521113 h 899860"/>
              <a:gd name="connsiteX25" fmla="*/ 181266 w 1110254"/>
              <a:gd name="connsiteY25" fmla="*/ 405609 h 899860"/>
              <a:gd name="connsiteX26" fmla="*/ 138782 w 1110254"/>
              <a:gd name="connsiteY26" fmla="*/ 322338 h 899860"/>
              <a:gd name="connsiteX27" fmla="*/ 0 w 1110254"/>
              <a:gd name="connsiteY27" fmla="*/ 284732 h 899860"/>
              <a:gd name="connsiteX28" fmla="*/ 42484 w 1110254"/>
              <a:gd name="connsiteY28" fmla="*/ 247126 h 899860"/>
              <a:gd name="connsiteX29" fmla="*/ 150111 w 1110254"/>
              <a:gd name="connsiteY29" fmla="*/ 255184 h 899860"/>
              <a:gd name="connsiteX30" fmla="*/ 220918 w 1110254"/>
              <a:gd name="connsiteY30" fmla="*/ 228323 h 899860"/>
              <a:gd name="connsiteX31" fmla="*/ 339874 w 1110254"/>
              <a:gd name="connsiteY31" fmla="*/ 153111 h 899860"/>
              <a:gd name="connsiteX32" fmla="*/ 410681 w 1110254"/>
              <a:gd name="connsiteY32" fmla="*/ 153111 h 899860"/>
              <a:gd name="connsiteX33" fmla="*/ 419178 w 1110254"/>
              <a:gd name="connsiteY33" fmla="*/ 85957 h 899860"/>
              <a:gd name="connsiteX34" fmla="*/ 461662 w 1110254"/>
              <a:gd name="connsiteY34" fmla="*/ 67154 h 89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110254" h="899860">
                <a:moveTo>
                  <a:pt x="450333" y="0"/>
                </a:moveTo>
                <a:lnTo>
                  <a:pt x="600444" y="0"/>
                </a:lnTo>
                <a:lnTo>
                  <a:pt x="691077" y="104760"/>
                </a:lnTo>
                <a:lnTo>
                  <a:pt x="821362" y="153111"/>
                </a:lnTo>
                <a:lnTo>
                  <a:pt x="821362" y="206834"/>
                </a:lnTo>
                <a:lnTo>
                  <a:pt x="821362" y="260557"/>
                </a:lnTo>
                <a:lnTo>
                  <a:pt x="821362" y="359944"/>
                </a:lnTo>
                <a:lnTo>
                  <a:pt x="923324" y="483507"/>
                </a:lnTo>
                <a:lnTo>
                  <a:pt x="1062105" y="483507"/>
                </a:lnTo>
                <a:lnTo>
                  <a:pt x="1062105" y="569464"/>
                </a:lnTo>
                <a:lnTo>
                  <a:pt x="1110254" y="652734"/>
                </a:lnTo>
                <a:lnTo>
                  <a:pt x="1110254" y="693027"/>
                </a:lnTo>
                <a:lnTo>
                  <a:pt x="1062105" y="741377"/>
                </a:lnTo>
                <a:lnTo>
                  <a:pt x="1022453" y="851509"/>
                </a:lnTo>
                <a:lnTo>
                  <a:pt x="971472" y="899860"/>
                </a:lnTo>
                <a:lnTo>
                  <a:pt x="778877" y="899860"/>
                </a:lnTo>
                <a:lnTo>
                  <a:pt x="730729" y="851509"/>
                </a:lnTo>
                <a:lnTo>
                  <a:pt x="679748" y="851509"/>
                </a:lnTo>
                <a:lnTo>
                  <a:pt x="600444" y="784356"/>
                </a:lnTo>
                <a:lnTo>
                  <a:pt x="600444" y="741377"/>
                </a:lnTo>
                <a:lnTo>
                  <a:pt x="359700" y="741377"/>
                </a:lnTo>
                <a:lnTo>
                  <a:pt x="320048" y="693027"/>
                </a:lnTo>
                <a:lnTo>
                  <a:pt x="220918" y="652734"/>
                </a:lnTo>
                <a:lnTo>
                  <a:pt x="181266" y="521113"/>
                </a:lnTo>
                <a:lnTo>
                  <a:pt x="220918" y="521113"/>
                </a:lnTo>
                <a:lnTo>
                  <a:pt x="181266" y="405609"/>
                </a:lnTo>
                <a:lnTo>
                  <a:pt x="138782" y="322338"/>
                </a:lnTo>
                <a:lnTo>
                  <a:pt x="0" y="284732"/>
                </a:lnTo>
                <a:lnTo>
                  <a:pt x="42484" y="247126"/>
                </a:lnTo>
                <a:lnTo>
                  <a:pt x="150111" y="255184"/>
                </a:lnTo>
                <a:lnTo>
                  <a:pt x="220918" y="228323"/>
                </a:lnTo>
                <a:lnTo>
                  <a:pt x="339874" y="153111"/>
                </a:lnTo>
                <a:lnTo>
                  <a:pt x="410681" y="153111"/>
                </a:lnTo>
                <a:lnTo>
                  <a:pt x="419178" y="85957"/>
                </a:lnTo>
                <a:lnTo>
                  <a:pt x="461662" y="6715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 marL="914400" indent="0">
              <a:buNone/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31" name="Espaço Reservado para Texto 140">
            <a:extLst>
              <a:ext uri="{FF2B5EF4-FFF2-40B4-BE49-F238E27FC236}">
                <a16:creationId xmlns:a16="http://schemas.microsoft.com/office/drawing/2014/main" id="{847810B6-D5BB-4409-A45F-6CA904BCE6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71617" y="2325659"/>
            <a:ext cx="1823434" cy="1657015"/>
          </a:xfrm>
          <a:custGeom>
            <a:avLst/>
            <a:gdLst>
              <a:gd name="connsiteX0" fmla="*/ 551007 w 1823434"/>
              <a:gd name="connsiteY0" fmla="*/ 0 h 1657015"/>
              <a:gd name="connsiteX1" fmla="*/ 641894 w 1823434"/>
              <a:gd name="connsiteY1" fmla="*/ 82851 h 1657015"/>
              <a:gd name="connsiteX2" fmla="*/ 641894 w 1823434"/>
              <a:gd name="connsiteY2" fmla="*/ 197773 h 1657015"/>
              <a:gd name="connsiteX3" fmla="*/ 690178 w 1823434"/>
              <a:gd name="connsiteY3" fmla="*/ 235189 h 1657015"/>
              <a:gd name="connsiteX4" fmla="*/ 712900 w 1823434"/>
              <a:gd name="connsiteY4" fmla="*/ 280624 h 1657015"/>
              <a:gd name="connsiteX5" fmla="*/ 761184 w 1823434"/>
              <a:gd name="connsiteY5" fmla="*/ 328731 h 1657015"/>
              <a:gd name="connsiteX6" fmla="*/ 1823434 w 1823434"/>
              <a:gd name="connsiteY6" fmla="*/ 366147 h 1657015"/>
              <a:gd name="connsiteX7" fmla="*/ 1732547 w 1823434"/>
              <a:gd name="connsiteY7" fmla="*/ 574610 h 1657015"/>
              <a:gd name="connsiteX8" fmla="*/ 1732547 w 1823434"/>
              <a:gd name="connsiteY8" fmla="*/ 783073 h 1657015"/>
              <a:gd name="connsiteX9" fmla="*/ 1772310 w 1823434"/>
              <a:gd name="connsiteY9" fmla="*/ 828508 h 1657015"/>
              <a:gd name="connsiteX10" fmla="*/ 1732547 w 1823434"/>
              <a:gd name="connsiteY10" fmla="*/ 940757 h 1657015"/>
              <a:gd name="connsiteX11" fmla="*/ 1692783 w 1823434"/>
              <a:gd name="connsiteY11" fmla="*/ 1071715 h 1657015"/>
              <a:gd name="connsiteX12" fmla="*/ 1641659 w 1823434"/>
              <a:gd name="connsiteY12" fmla="*/ 1159911 h 1657015"/>
              <a:gd name="connsiteX13" fmla="*/ 1590535 w 1823434"/>
              <a:gd name="connsiteY13" fmla="*/ 1159911 h 1657015"/>
              <a:gd name="connsiteX14" fmla="*/ 1542250 w 1823434"/>
              <a:gd name="connsiteY14" fmla="*/ 1290868 h 1657015"/>
              <a:gd name="connsiteX15" fmla="*/ 1502487 w 1823434"/>
              <a:gd name="connsiteY15" fmla="*/ 1290868 h 1657015"/>
              <a:gd name="connsiteX16" fmla="*/ 1459883 w 1823434"/>
              <a:gd name="connsiteY16" fmla="*/ 1392427 h 1657015"/>
              <a:gd name="connsiteX17" fmla="*/ 1363315 w 1823434"/>
              <a:gd name="connsiteY17" fmla="*/ 1440534 h 1657015"/>
              <a:gd name="connsiteX18" fmla="*/ 1363315 w 1823434"/>
              <a:gd name="connsiteY18" fmla="*/ 1526058 h 1657015"/>
              <a:gd name="connsiteX19" fmla="*/ 1363315 w 1823434"/>
              <a:gd name="connsiteY19" fmla="*/ 1608908 h 1657015"/>
              <a:gd name="connsiteX20" fmla="*/ 1263907 w 1823434"/>
              <a:gd name="connsiteY20" fmla="*/ 1563474 h 1657015"/>
              <a:gd name="connsiteX21" fmla="*/ 1263907 w 1823434"/>
              <a:gd name="connsiteY21" fmla="*/ 1526058 h 1657015"/>
              <a:gd name="connsiteX22" fmla="*/ 1229824 w 1823434"/>
              <a:gd name="connsiteY22" fmla="*/ 1526058 h 1657015"/>
              <a:gd name="connsiteX23" fmla="*/ 1195741 w 1823434"/>
              <a:gd name="connsiteY23" fmla="*/ 1526058 h 1657015"/>
              <a:gd name="connsiteX24" fmla="*/ 1121895 w 1823434"/>
              <a:gd name="connsiteY24" fmla="*/ 1526058 h 1657015"/>
              <a:gd name="connsiteX25" fmla="*/ 1082132 w 1823434"/>
              <a:gd name="connsiteY25" fmla="*/ 1574164 h 1657015"/>
              <a:gd name="connsiteX26" fmla="*/ 852072 w 1823434"/>
              <a:gd name="connsiteY26" fmla="*/ 1488641 h 1657015"/>
              <a:gd name="connsiteX27" fmla="*/ 852072 w 1823434"/>
              <a:gd name="connsiteY27" fmla="*/ 1526058 h 1657015"/>
              <a:gd name="connsiteX28" fmla="*/ 761184 w 1823434"/>
              <a:gd name="connsiteY28" fmla="*/ 1534075 h 1657015"/>
              <a:gd name="connsiteX29" fmla="*/ 712900 w 1823434"/>
              <a:gd name="connsiteY29" fmla="*/ 1574164 h 1657015"/>
              <a:gd name="connsiteX30" fmla="*/ 690178 w 1823434"/>
              <a:gd name="connsiteY30" fmla="*/ 1608908 h 1657015"/>
              <a:gd name="connsiteX31" fmla="*/ 641894 w 1823434"/>
              <a:gd name="connsiteY31" fmla="*/ 1657015 h 1657015"/>
              <a:gd name="connsiteX32" fmla="*/ 602131 w 1823434"/>
              <a:gd name="connsiteY32" fmla="*/ 1574164 h 1657015"/>
              <a:gd name="connsiteX33" fmla="*/ 499882 w 1823434"/>
              <a:gd name="connsiteY33" fmla="*/ 1488641 h 1657015"/>
              <a:gd name="connsiteX34" fmla="*/ 551007 w 1823434"/>
              <a:gd name="connsiteY34" fmla="*/ 1440534 h 1657015"/>
              <a:gd name="connsiteX35" fmla="*/ 551007 w 1823434"/>
              <a:gd name="connsiteY35" fmla="*/ 1392427 h 1657015"/>
              <a:gd name="connsiteX36" fmla="*/ 232900 w 1823434"/>
              <a:gd name="connsiteY36" fmla="*/ 1392427 h 1657015"/>
              <a:gd name="connsiteX37" fmla="*/ 232900 w 1823434"/>
              <a:gd name="connsiteY37" fmla="*/ 1242761 h 1657015"/>
              <a:gd name="connsiteX38" fmla="*/ 181775 w 1823434"/>
              <a:gd name="connsiteY38" fmla="*/ 1194655 h 1657015"/>
              <a:gd name="connsiteX39" fmla="*/ 181775 w 1823434"/>
              <a:gd name="connsiteY39" fmla="*/ 1159911 h 1657015"/>
              <a:gd name="connsiteX40" fmla="*/ 232900 w 1823434"/>
              <a:gd name="connsiteY40" fmla="*/ 1111804 h 1657015"/>
              <a:gd name="connsiteX41" fmla="*/ 181775 w 1823434"/>
              <a:gd name="connsiteY41" fmla="*/ 1071715 h 1657015"/>
              <a:gd name="connsiteX42" fmla="*/ 181775 w 1823434"/>
              <a:gd name="connsiteY42" fmla="*/ 1026280 h 1657015"/>
              <a:gd name="connsiteX43" fmla="*/ 130651 w 1823434"/>
              <a:gd name="connsiteY43" fmla="*/ 988864 h 1657015"/>
              <a:gd name="connsiteX44" fmla="*/ 190296 w 1823434"/>
              <a:gd name="connsiteY44" fmla="*/ 940757 h 1657015"/>
              <a:gd name="connsiteX45" fmla="*/ 232900 w 1823434"/>
              <a:gd name="connsiteY45" fmla="*/ 828508 h 1657015"/>
              <a:gd name="connsiteX46" fmla="*/ 281184 w 1823434"/>
              <a:gd name="connsiteY46" fmla="*/ 783073 h 1657015"/>
              <a:gd name="connsiteX47" fmla="*/ 281184 w 1823434"/>
              <a:gd name="connsiteY47" fmla="*/ 742984 h 1657015"/>
              <a:gd name="connsiteX48" fmla="*/ 232900 w 1823434"/>
              <a:gd name="connsiteY48" fmla="*/ 649443 h 1657015"/>
              <a:gd name="connsiteX49" fmla="*/ 232900 w 1823434"/>
              <a:gd name="connsiteY49" fmla="*/ 574610 h 1657015"/>
              <a:gd name="connsiteX50" fmla="*/ 90888 w 1823434"/>
              <a:gd name="connsiteY50" fmla="*/ 574610 h 1657015"/>
              <a:gd name="connsiteX51" fmla="*/ 0 w 1823434"/>
              <a:gd name="connsiteY51" fmla="*/ 462361 h 1657015"/>
              <a:gd name="connsiteX52" fmla="*/ 0 w 1823434"/>
              <a:gd name="connsiteY52" fmla="*/ 245880 h 1657015"/>
              <a:gd name="connsiteX53" fmla="*/ 499882 w 1823434"/>
              <a:gd name="connsiteY53" fmla="*/ 197773 h 1657015"/>
              <a:gd name="connsiteX54" fmla="*/ 499882 w 1823434"/>
              <a:gd name="connsiteY54" fmla="*/ 157684 h 1657015"/>
              <a:gd name="connsiteX55" fmla="*/ 499882 w 1823434"/>
              <a:gd name="connsiteY55" fmla="*/ 117595 h 1657015"/>
              <a:gd name="connsiteX56" fmla="*/ 499882 w 1823434"/>
              <a:gd name="connsiteY56" fmla="*/ 74833 h 1657015"/>
              <a:gd name="connsiteX57" fmla="*/ 499882 w 1823434"/>
              <a:gd name="connsiteY57" fmla="*/ 37417 h 1657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823434" h="1657015">
                <a:moveTo>
                  <a:pt x="551007" y="0"/>
                </a:moveTo>
                <a:lnTo>
                  <a:pt x="641894" y="82851"/>
                </a:lnTo>
                <a:lnTo>
                  <a:pt x="641894" y="197773"/>
                </a:lnTo>
                <a:lnTo>
                  <a:pt x="690178" y="235189"/>
                </a:lnTo>
                <a:lnTo>
                  <a:pt x="712900" y="280624"/>
                </a:lnTo>
                <a:lnTo>
                  <a:pt x="761184" y="328731"/>
                </a:lnTo>
                <a:lnTo>
                  <a:pt x="1823434" y="366147"/>
                </a:lnTo>
                <a:lnTo>
                  <a:pt x="1732547" y="574610"/>
                </a:lnTo>
                <a:lnTo>
                  <a:pt x="1732547" y="783073"/>
                </a:lnTo>
                <a:lnTo>
                  <a:pt x="1772310" y="828508"/>
                </a:lnTo>
                <a:lnTo>
                  <a:pt x="1732547" y="940757"/>
                </a:lnTo>
                <a:lnTo>
                  <a:pt x="1692783" y="1071715"/>
                </a:lnTo>
                <a:lnTo>
                  <a:pt x="1641659" y="1159911"/>
                </a:lnTo>
                <a:lnTo>
                  <a:pt x="1590535" y="1159911"/>
                </a:lnTo>
                <a:lnTo>
                  <a:pt x="1542250" y="1290868"/>
                </a:lnTo>
                <a:lnTo>
                  <a:pt x="1502487" y="1290868"/>
                </a:lnTo>
                <a:lnTo>
                  <a:pt x="1459883" y="1392427"/>
                </a:lnTo>
                <a:lnTo>
                  <a:pt x="1363315" y="1440534"/>
                </a:lnTo>
                <a:lnTo>
                  <a:pt x="1363315" y="1526058"/>
                </a:lnTo>
                <a:lnTo>
                  <a:pt x="1363315" y="1608908"/>
                </a:lnTo>
                <a:lnTo>
                  <a:pt x="1263907" y="1563474"/>
                </a:lnTo>
                <a:lnTo>
                  <a:pt x="1263907" y="1526058"/>
                </a:lnTo>
                <a:lnTo>
                  <a:pt x="1229824" y="1526058"/>
                </a:lnTo>
                <a:lnTo>
                  <a:pt x="1195741" y="1526058"/>
                </a:lnTo>
                <a:lnTo>
                  <a:pt x="1121895" y="1526058"/>
                </a:lnTo>
                <a:lnTo>
                  <a:pt x="1082132" y="1574164"/>
                </a:lnTo>
                <a:lnTo>
                  <a:pt x="852072" y="1488641"/>
                </a:lnTo>
                <a:lnTo>
                  <a:pt x="852072" y="1526058"/>
                </a:lnTo>
                <a:lnTo>
                  <a:pt x="761184" y="1534075"/>
                </a:lnTo>
                <a:lnTo>
                  <a:pt x="712900" y="1574164"/>
                </a:lnTo>
                <a:lnTo>
                  <a:pt x="690178" y="1608908"/>
                </a:lnTo>
                <a:lnTo>
                  <a:pt x="641894" y="1657015"/>
                </a:lnTo>
                <a:lnTo>
                  <a:pt x="602131" y="1574164"/>
                </a:lnTo>
                <a:lnTo>
                  <a:pt x="499882" y="1488641"/>
                </a:lnTo>
                <a:lnTo>
                  <a:pt x="551007" y="1440534"/>
                </a:lnTo>
                <a:lnTo>
                  <a:pt x="551007" y="1392427"/>
                </a:lnTo>
                <a:lnTo>
                  <a:pt x="232900" y="1392427"/>
                </a:lnTo>
                <a:lnTo>
                  <a:pt x="232900" y="1242761"/>
                </a:lnTo>
                <a:lnTo>
                  <a:pt x="181775" y="1194655"/>
                </a:lnTo>
                <a:lnTo>
                  <a:pt x="181775" y="1159911"/>
                </a:lnTo>
                <a:lnTo>
                  <a:pt x="232900" y="1111804"/>
                </a:lnTo>
                <a:lnTo>
                  <a:pt x="181775" y="1071715"/>
                </a:lnTo>
                <a:lnTo>
                  <a:pt x="181775" y="1026280"/>
                </a:lnTo>
                <a:lnTo>
                  <a:pt x="130651" y="988864"/>
                </a:lnTo>
                <a:lnTo>
                  <a:pt x="190296" y="940757"/>
                </a:lnTo>
                <a:lnTo>
                  <a:pt x="232900" y="828508"/>
                </a:lnTo>
                <a:lnTo>
                  <a:pt x="281184" y="783073"/>
                </a:lnTo>
                <a:lnTo>
                  <a:pt x="281184" y="742984"/>
                </a:lnTo>
                <a:lnTo>
                  <a:pt x="232900" y="649443"/>
                </a:lnTo>
                <a:lnTo>
                  <a:pt x="232900" y="574610"/>
                </a:lnTo>
                <a:lnTo>
                  <a:pt x="90888" y="574610"/>
                </a:lnTo>
                <a:lnTo>
                  <a:pt x="0" y="462361"/>
                </a:lnTo>
                <a:lnTo>
                  <a:pt x="0" y="245880"/>
                </a:lnTo>
                <a:lnTo>
                  <a:pt x="499882" y="197773"/>
                </a:lnTo>
                <a:lnTo>
                  <a:pt x="499882" y="157684"/>
                </a:lnTo>
                <a:lnTo>
                  <a:pt x="499882" y="117595"/>
                </a:lnTo>
                <a:lnTo>
                  <a:pt x="499882" y="74833"/>
                </a:lnTo>
                <a:lnTo>
                  <a:pt x="499882" y="374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smtClean="0"/>
            </a:lvl2pPr>
            <a:lvl3pPr marL="914400" indent="0">
              <a:buNone/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32" name="Espaço Reservado para Texto 144">
            <a:extLst>
              <a:ext uri="{FF2B5EF4-FFF2-40B4-BE49-F238E27FC236}">
                <a16:creationId xmlns:a16="http://schemas.microsoft.com/office/drawing/2014/main" id="{D3F4AA72-3E04-43A9-B2FD-BA197995BE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711710" y="1348857"/>
            <a:ext cx="1095116" cy="1374689"/>
          </a:xfrm>
          <a:custGeom>
            <a:avLst/>
            <a:gdLst>
              <a:gd name="connsiteX0" fmla="*/ 364091 w 1095116"/>
              <a:gd name="connsiteY0" fmla="*/ 0 h 1374689"/>
              <a:gd name="connsiteX1" fmla="*/ 401069 w 1095116"/>
              <a:gd name="connsiteY1" fmla="*/ 40117 h 1374689"/>
              <a:gd name="connsiteX2" fmla="*/ 494936 w 1095116"/>
              <a:gd name="connsiteY2" fmla="*/ 40117 h 1374689"/>
              <a:gd name="connsiteX3" fmla="*/ 494936 w 1095116"/>
              <a:gd name="connsiteY3" fmla="*/ 74886 h 1374689"/>
              <a:gd name="connsiteX4" fmla="*/ 543292 w 1095116"/>
              <a:gd name="connsiteY4" fmla="*/ 40117 h 1374689"/>
              <a:gd name="connsiteX5" fmla="*/ 634314 w 1095116"/>
              <a:gd name="connsiteY5" fmla="*/ 131050 h 1374689"/>
              <a:gd name="connsiteX6" fmla="*/ 594492 w 1095116"/>
              <a:gd name="connsiteY6" fmla="*/ 171168 h 1374689"/>
              <a:gd name="connsiteX7" fmla="*/ 634314 w 1095116"/>
              <a:gd name="connsiteY7" fmla="*/ 179191 h 1374689"/>
              <a:gd name="connsiteX8" fmla="*/ 634314 w 1095116"/>
              <a:gd name="connsiteY8" fmla="*/ 205936 h 1374689"/>
              <a:gd name="connsiteX9" fmla="*/ 594492 w 1095116"/>
              <a:gd name="connsiteY9" fmla="*/ 246053 h 1374689"/>
              <a:gd name="connsiteX10" fmla="*/ 634314 w 1095116"/>
              <a:gd name="connsiteY10" fmla="*/ 254077 h 1374689"/>
              <a:gd name="connsiteX11" fmla="*/ 594492 w 1095116"/>
              <a:gd name="connsiteY11" fmla="*/ 320939 h 1374689"/>
              <a:gd name="connsiteX12" fmla="*/ 634314 w 1095116"/>
              <a:gd name="connsiteY12" fmla="*/ 320939 h 1374689"/>
              <a:gd name="connsiteX13" fmla="*/ 682670 w 1095116"/>
              <a:gd name="connsiteY13" fmla="*/ 254077 h 1374689"/>
              <a:gd name="connsiteX14" fmla="*/ 725337 w 1095116"/>
              <a:gd name="connsiteY14" fmla="*/ 254077 h 1374689"/>
              <a:gd name="connsiteX15" fmla="*/ 733870 w 1095116"/>
              <a:gd name="connsiteY15" fmla="*/ 219308 h 1374689"/>
              <a:gd name="connsiteX16" fmla="*/ 824893 w 1095116"/>
              <a:gd name="connsiteY16" fmla="*/ 205936 h 1374689"/>
              <a:gd name="connsiteX17" fmla="*/ 813515 w 1095116"/>
              <a:gd name="connsiteY17" fmla="*/ 171168 h 1374689"/>
              <a:gd name="connsiteX18" fmla="*/ 964271 w 1095116"/>
              <a:gd name="connsiteY18" fmla="*/ 254077 h 1374689"/>
              <a:gd name="connsiteX19" fmla="*/ 1095116 w 1095116"/>
              <a:gd name="connsiteY19" fmla="*/ 254077 h 1374689"/>
              <a:gd name="connsiteX20" fmla="*/ 1006938 w 1095116"/>
              <a:gd name="connsiteY20" fmla="*/ 358382 h 1374689"/>
              <a:gd name="connsiteX21" fmla="*/ 955738 w 1095116"/>
              <a:gd name="connsiteY21" fmla="*/ 358382 h 1374689"/>
              <a:gd name="connsiteX22" fmla="*/ 915915 w 1095116"/>
              <a:gd name="connsiteY22" fmla="*/ 443966 h 1374689"/>
              <a:gd name="connsiteX23" fmla="*/ 907382 w 1095116"/>
              <a:gd name="connsiteY23" fmla="*/ 631180 h 1374689"/>
              <a:gd name="connsiteX24" fmla="*/ 876093 w 1095116"/>
              <a:gd name="connsiteY24" fmla="*/ 668623 h 1374689"/>
              <a:gd name="connsiteX25" fmla="*/ 864715 w 1095116"/>
              <a:gd name="connsiteY25" fmla="*/ 772928 h 1374689"/>
              <a:gd name="connsiteX26" fmla="*/ 907382 w 1095116"/>
              <a:gd name="connsiteY26" fmla="*/ 772928 h 1374689"/>
              <a:gd name="connsiteX27" fmla="*/ 907382 w 1095116"/>
              <a:gd name="connsiteY27" fmla="*/ 866536 h 1374689"/>
              <a:gd name="connsiteX28" fmla="*/ 674137 w 1095116"/>
              <a:gd name="connsiteY28" fmla="*/ 877234 h 1374689"/>
              <a:gd name="connsiteX29" fmla="*/ 594492 w 1095116"/>
              <a:gd name="connsiteY29" fmla="*/ 952119 h 1374689"/>
              <a:gd name="connsiteX30" fmla="*/ 494936 w 1095116"/>
              <a:gd name="connsiteY30" fmla="*/ 997586 h 1374689"/>
              <a:gd name="connsiteX31" fmla="*/ 401069 w 1095116"/>
              <a:gd name="connsiteY31" fmla="*/ 1184800 h 1374689"/>
              <a:gd name="connsiteX32" fmla="*/ 401069 w 1095116"/>
              <a:gd name="connsiteY32" fmla="*/ 1273058 h 1374689"/>
              <a:gd name="connsiteX33" fmla="*/ 349868 w 1095116"/>
              <a:gd name="connsiteY33" fmla="*/ 1374689 h 1374689"/>
              <a:gd name="connsiteX34" fmla="*/ 312891 w 1095116"/>
              <a:gd name="connsiteY34" fmla="*/ 1374689 h 1374689"/>
              <a:gd name="connsiteX35" fmla="*/ 261690 w 1095116"/>
              <a:gd name="connsiteY35" fmla="*/ 1291780 h 1374689"/>
              <a:gd name="connsiteX36" fmla="*/ 261690 w 1095116"/>
              <a:gd name="connsiteY36" fmla="*/ 1243639 h 1374689"/>
              <a:gd name="connsiteX37" fmla="*/ 210490 w 1095116"/>
              <a:gd name="connsiteY37" fmla="*/ 1206196 h 1374689"/>
              <a:gd name="connsiteX38" fmla="*/ 261690 w 1095116"/>
              <a:gd name="connsiteY38" fmla="*/ 1120612 h 1374689"/>
              <a:gd name="connsiteX39" fmla="*/ 312891 w 1095116"/>
              <a:gd name="connsiteY39" fmla="*/ 1120612 h 1374689"/>
              <a:gd name="connsiteX40" fmla="*/ 312891 w 1095116"/>
              <a:gd name="connsiteY40" fmla="*/ 1053750 h 1374689"/>
              <a:gd name="connsiteX41" fmla="*/ 210490 w 1095116"/>
              <a:gd name="connsiteY41" fmla="*/ 1053750 h 1374689"/>
              <a:gd name="connsiteX42" fmla="*/ 139379 w 1095116"/>
              <a:gd name="connsiteY42" fmla="*/ 960143 h 1374689"/>
              <a:gd name="connsiteX43" fmla="*/ 139379 w 1095116"/>
              <a:gd name="connsiteY43" fmla="*/ 914676 h 1374689"/>
              <a:gd name="connsiteX44" fmla="*/ 102401 w 1095116"/>
              <a:gd name="connsiteY44" fmla="*/ 914676 h 1374689"/>
              <a:gd name="connsiteX45" fmla="*/ 139379 w 1095116"/>
              <a:gd name="connsiteY45" fmla="*/ 877234 h 1374689"/>
              <a:gd name="connsiteX46" fmla="*/ 153601 w 1095116"/>
              <a:gd name="connsiteY46" fmla="*/ 679321 h 1374689"/>
              <a:gd name="connsiteX47" fmla="*/ 102401 w 1095116"/>
              <a:gd name="connsiteY47" fmla="*/ 641878 h 1374689"/>
              <a:gd name="connsiteX48" fmla="*/ 51200 w 1095116"/>
              <a:gd name="connsiteY48" fmla="*/ 641878 h 1374689"/>
              <a:gd name="connsiteX49" fmla="*/ 0 w 1095116"/>
              <a:gd name="connsiteY49" fmla="*/ 593737 h 1374689"/>
              <a:gd name="connsiteX50" fmla="*/ 153601 w 1095116"/>
              <a:gd name="connsiteY50" fmla="*/ 508154 h 1374689"/>
              <a:gd name="connsiteX51" fmla="*/ 221868 w 1095116"/>
              <a:gd name="connsiteY51" fmla="*/ 369080 h 1374689"/>
              <a:gd name="connsiteX52" fmla="*/ 270224 w 1095116"/>
              <a:gd name="connsiteY52" fmla="*/ 328963 h 1374689"/>
              <a:gd name="connsiteX53" fmla="*/ 270224 w 1095116"/>
              <a:gd name="connsiteY53" fmla="*/ 219308 h 1374689"/>
              <a:gd name="connsiteX54" fmla="*/ 364091 w 1095116"/>
              <a:gd name="connsiteY54" fmla="*/ 131050 h 13746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095116" h="1374689">
                <a:moveTo>
                  <a:pt x="364091" y="0"/>
                </a:moveTo>
                <a:lnTo>
                  <a:pt x="401069" y="40117"/>
                </a:lnTo>
                <a:lnTo>
                  <a:pt x="494936" y="40117"/>
                </a:lnTo>
                <a:lnTo>
                  <a:pt x="494936" y="74886"/>
                </a:lnTo>
                <a:lnTo>
                  <a:pt x="543292" y="40117"/>
                </a:lnTo>
                <a:lnTo>
                  <a:pt x="634314" y="131050"/>
                </a:lnTo>
                <a:lnTo>
                  <a:pt x="594492" y="171168"/>
                </a:lnTo>
                <a:lnTo>
                  <a:pt x="634314" y="179191"/>
                </a:lnTo>
                <a:lnTo>
                  <a:pt x="634314" y="205936"/>
                </a:lnTo>
                <a:lnTo>
                  <a:pt x="594492" y="246053"/>
                </a:lnTo>
                <a:lnTo>
                  <a:pt x="634314" y="254077"/>
                </a:lnTo>
                <a:lnTo>
                  <a:pt x="594492" y="320939"/>
                </a:lnTo>
                <a:lnTo>
                  <a:pt x="634314" y="320939"/>
                </a:lnTo>
                <a:lnTo>
                  <a:pt x="682670" y="254077"/>
                </a:lnTo>
                <a:lnTo>
                  <a:pt x="725337" y="254077"/>
                </a:lnTo>
                <a:lnTo>
                  <a:pt x="733870" y="219308"/>
                </a:lnTo>
                <a:lnTo>
                  <a:pt x="824893" y="205936"/>
                </a:lnTo>
                <a:lnTo>
                  <a:pt x="813515" y="171168"/>
                </a:lnTo>
                <a:lnTo>
                  <a:pt x="964271" y="254077"/>
                </a:lnTo>
                <a:lnTo>
                  <a:pt x="1095116" y="254077"/>
                </a:lnTo>
                <a:lnTo>
                  <a:pt x="1006938" y="358382"/>
                </a:lnTo>
                <a:lnTo>
                  <a:pt x="955738" y="358382"/>
                </a:lnTo>
                <a:lnTo>
                  <a:pt x="915915" y="443966"/>
                </a:lnTo>
                <a:lnTo>
                  <a:pt x="907382" y="631180"/>
                </a:lnTo>
                <a:lnTo>
                  <a:pt x="876093" y="668623"/>
                </a:lnTo>
                <a:lnTo>
                  <a:pt x="864715" y="772928"/>
                </a:lnTo>
                <a:lnTo>
                  <a:pt x="907382" y="772928"/>
                </a:lnTo>
                <a:lnTo>
                  <a:pt x="907382" y="866536"/>
                </a:lnTo>
                <a:lnTo>
                  <a:pt x="674137" y="877234"/>
                </a:lnTo>
                <a:lnTo>
                  <a:pt x="594492" y="952119"/>
                </a:lnTo>
                <a:lnTo>
                  <a:pt x="494936" y="997586"/>
                </a:lnTo>
                <a:lnTo>
                  <a:pt x="401069" y="1184800"/>
                </a:lnTo>
                <a:lnTo>
                  <a:pt x="401069" y="1273058"/>
                </a:lnTo>
                <a:lnTo>
                  <a:pt x="349868" y="1374689"/>
                </a:lnTo>
                <a:lnTo>
                  <a:pt x="312891" y="1374689"/>
                </a:lnTo>
                <a:lnTo>
                  <a:pt x="261690" y="1291780"/>
                </a:lnTo>
                <a:lnTo>
                  <a:pt x="261690" y="1243639"/>
                </a:lnTo>
                <a:lnTo>
                  <a:pt x="210490" y="1206196"/>
                </a:lnTo>
                <a:lnTo>
                  <a:pt x="261690" y="1120612"/>
                </a:lnTo>
                <a:lnTo>
                  <a:pt x="312891" y="1120612"/>
                </a:lnTo>
                <a:lnTo>
                  <a:pt x="312891" y="1053750"/>
                </a:lnTo>
                <a:lnTo>
                  <a:pt x="210490" y="1053750"/>
                </a:lnTo>
                <a:lnTo>
                  <a:pt x="139379" y="960143"/>
                </a:lnTo>
                <a:lnTo>
                  <a:pt x="139379" y="914676"/>
                </a:lnTo>
                <a:lnTo>
                  <a:pt x="102401" y="914676"/>
                </a:lnTo>
                <a:lnTo>
                  <a:pt x="139379" y="877234"/>
                </a:lnTo>
                <a:lnTo>
                  <a:pt x="153601" y="679321"/>
                </a:lnTo>
                <a:lnTo>
                  <a:pt x="102401" y="641878"/>
                </a:lnTo>
                <a:lnTo>
                  <a:pt x="51200" y="641878"/>
                </a:lnTo>
                <a:lnTo>
                  <a:pt x="0" y="593737"/>
                </a:lnTo>
                <a:lnTo>
                  <a:pt x="153601" y="508154"/>
                </a:lnTo>
                <a:lnTo>
                  <a:pt x="221868" y="369080"/>
                </a:lnTo>
                <a:lnTo>
                  <a:pt x="270224" y="328963"/>
                </a:lnTo>
                <a:lnTo>
                  <a:pt x="270224" y="219308"/>
                </a:lnTo>
                <a:lnTo>
                  <a:pt x="364091" y="1310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33" name="Espaço Reservado para Texto 148">
            <a:extLst>
              <a:ext uri="{FF2B5EF4-FFF2-40B4-BE49-F238E27FC236}">
                <a16:creationId xmlns:a16="http://schemas.microsoft.com/office/drawing/2014/main" id="{CCC9D84F-1455-4FBB-9441-E635EA7BD4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854325" y="1623802"/>
            <a:ext cx="683458" cy="781013"/>
          </a:xfrm>
          <a:custGeom>
            <a:avLst/>
            <a:gdLst>
              <a:gd name="connsiteX0" fmla="*/ 192843 w 683458"/>
              <a:gd name="connsiteY0" fmla="*/ 0 h 781013"/>
              <a:gd name="connsiteX1" fmla="*/ 331803 w 683458"/>
              <a:gd name="connsiteY1" fmla="*/ 103957 h 781013"/>
              <a:gd name="connsiteX2" fmla="*/ 561513 w 683458"/>
              <a:gd name="connsiteY2" fmla="*/ 245233 h 781013"/>
              <a:gd name="connsiteX3" fmla="*/ 623904 w 683458"/>
              <a:gd name="connsiteY3" fmla="*/ 319869 h 781013"/>
              <a:gd name="connsiteX4" fmla="*/ 683458 w 683458"/>
              <a:gd name="connsiteY4" fmla="*/ 319869 h 781013"/>
              <a:gd name="connsiteX5" fmla="*/ 510467 w 683458"/>
              <a:gd name="connsiteY5" fmla="*/ 517121 h 781013"/>
              <a:gd name="connsiteX6" fmla="*/ 473600 w 683458"/>
              <a:gd name="connsiteY6" fmla="*/ 613082 h 781013"/>
              <a:gd name="connsiteX7" fmla="*/ 473600 w 683458"/>
              <a:gd name="connsiteY7" fmla="*/ 650400 h 781013"/>
              <a:gd name="connsiteX8" fmla="*/ 473600 w 683458"/>
              <a:gd name="connsiteY8" fmla="*/ 735698 h 781013"/>
              <a:gd name="connsiteX9" fmla="*/ 473600 w 683458"/>
              <a:gd name="connsiteY9" fmla="*/ 781013 h 781013"/>
              <a:gd name="connsiteX10" fmla="*/ 382850 w 683458"/>
              <a:gd name="connsiteY10" fmla="*/ 781013 h 781013"/>
              <a:gd name="connsiteX11" fmla="*/ 331803 w 683458"/>
              <a:gd name="connsiteY11" fmla="*/ 735698 h 781013"/>
              <a:gd name="connsiteX12" fmla="*/ 141797 w 683458"/>
              <a:gd name="connsiteY12" fmla="*/ 698380 h 781013"/>
              <a:gd name="connsiteX13" fmla="*/ 141797 w 683458"/>
              <a:gd name="connsiteY13" fmla="*/ 650400 h 781013"/>
              <a:gd name="connsiteX14" fmla="*/ 90750 w 683458"/>
              <a:gd name="connsiteY14" fmla="*/ 565102 h 781013"/>
              <a:gd name="connsiteX15" fmla="*/ 51047 w 683458"/>
              <a:gd name="connsiteY15" fmla="*/ 415830 h 781013"/>
              <a:gd name="connsiteX16" fmla="*/ 51047 w 683458"/>
              <a:gd name="connsiteY16" fmla="*/ 319869 h 781013"/>
              <a:gd name="connsiteX17" fmla="*/ 51047 w 683458"/>
              <a:gd name="connsiteY17" fmla="*/ 285216 h 781013"/>
              <a:gd name="connsiteX18" fmla="*/ 51047 w 683458"/>
              <a:gd name="connsiteY18" fmla="*/ 245233 h 781013"/>
              <a:gd name="connsiteX19" fmla="*/ 0 w 683458"/>
              <a:gd name="connsiteY19" fmla="*/ 95961 h 781013"/>
              <a:gd name="connsiteX20" fmla="*/ 42539 w 683458"/>
              <a:gd name="connsiteY20" fmla="*/ 55977 h 781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83458" h="781013">
                <a:moveTo>
                  <a:pt x="192843" y="0"/>
                </a:moveTo>
                <a:lnTo>
                  <a:pt x="331803" y="103957"/>
                </a:lnTo>
                <a:lnTo>
                  <a:pt x="561513" y="245233"/>
                </a:lnTo>
                <a:lnTo>
                  <a:pt x="623904" y="319869"/>
                </a:lnTo>
                <a:lnTo>
                  <a:pt x="683458" y="319869"/>
                </a:lnTo>
                <a:lnTo>
                  <a:pt x="510467" y="517121"/>
                </a:lnTo>
                <a:lnTo>
                  <a:pt x="473600" y="613082"/>
                </a:lnTo>
                <a:lnTo>
                  <a:pt x="473600" y="650400"/>
                </a:lnTo>
                <a:lnTo>
                  <a:pt x="473600" y="735698"/>
                </a:lnTo>
                <a:lnTo>
                  <a:pt x="473600" y="781013"/>
                </a:lnTo>
                <a:lnTo>
                  <a:pt x="382850" y="781013"/>
                </a:lnTo>
                <a:lnTo>
                  <a:pt x="331803" y="735698"/>
                </a:lnTo>
                <a:lnTo>
                  <a:pt x="141797" y="698380"/>
                </a:lnTo>
                <a:lnTo>
                  <a:pt x="141797" y="650400"/>
                </a:lnTo>
                <a:lnTo>
                  <a:pt x="90750" y="565102"/>
                </a:lnTo>
                <a:lnTo>
                  <a:pt x="51047" y="415830"/>
                </a:lnTo>
                <a:lnTo>
                  <a:pt x="51047" y="319869"/>
                </a:lnTo>
                <a:lnTo>
                  <a:pt x="51047" y="285216"/>
                </a:lnTo>
                <a:lnTo>
                  <a:pt x="51047" y="245233"/>
                </a:lnTo>
                <a:lnTo>
                  <a:pt x="0" y="95961"/>
                </a:lnTo>
                <a:lnTo>
                  <a:pt x="42539" y="559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>
              <a:defRPr lang="pt-BR" dirty="0" smtClean="0"/>
            </a:lvl3pPr>
            <a:lvl4pPr>
              <a:defRPr lang="pt-BR" dirty="0" smtClean="0"/>
            </a:lvl4pPr>
            <a:lvl5pPr marL="1828800" indent="0">
              <a:buNone/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37" name="Espaço Reservado para Texto 152">
            <a:extLst>
              <a:ext uri="{FF2B5EF4-FFF2-40B4-BE49-F238E27FC236}">
                <a16:creationId xmlns:a16="http://schemas.microsoft.com/office/drawing/2014/main" id="{C3AE54DD-6751-4998-BB60-41E64D9140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60036" y="1603207"/>
            <a:ext cx="931508" cy="1282340"/>
          </a:xfrm>
          <a:custGeom>
            <a:avLst/>
            <a:gdLst>
              <a:gd name="connsiteX0" fmla="*/ 741809 w 931508"/>
              <a:gd name="connsiteY0" fmla="*/ 0 h 1282340"/>
              <a:gd name="connsiteX1" fmla="*/ 792773 w 931508"/>
              <a:gd name="connsiteY1" fmla="*/ 74959 h 1282340"/>
              <a:gd name="connsiteX2" fmla="*/ 832412 w 931508"/>
              <a:gd name="connsiteY2" fmla="*/ 74959 h 1282340"/>
              <a:gd name="connsiteX3" fmla="*/ 792773 w 931508"/>
              <a:gd name="connsiteY3" fmla="*/ 112439 h 1282340"/>
              <a:gd name="connsiteX4" fmla="*/ 843737 w 931508"/>
              <a:gd name="connsiteY4" fmla="*/ 262358 h 1282340"/>
              <a:gd name="connsiteX5" fmla="*/ 843737 w 931508"/>
              <a:gd name="connsiteY5" fmla="*/ 444402 h 1282340"/>
              <a:gd name="connsiteX6" fmla="*/ 880544 w 931508"/>
              <a:gd name="connsiteY6" fmla="*/ 583612 h 1282340"/>
              <a:gd name="connsiteX7" fmla="*/ 931508 w 931508"/>
              <a:gd name="connsiteY7" fmla="*/ 677311 h 1282340"/>
              <a:gd name="connsiteX8" fmla="*/ 923014 w 931508"/>
              <a:gd name="connsiteY8" fmla="*/ 800459 h 1282340"/>
              <a:gd name="connsiteX9" fmla="*/ 880544 w 931508"/>
              <a:gd name="connsiteY9" fmla="*/ 904866 h 1282340"/>
              <a:gd name="connsiteX10" fmla="*/ 832412 w 931508"/>
              <a:gd name="connsiteY10" fmla="*/ 904866 h 1282340"/>
              <a:gd name="connsiteX11" fmla="*/ 792773 w 931508"/>
              <a:gd name="connsiteY11" fmla="*/ 953055 h 1282340"/>
              <a:gd name="connsiteX12" fmla="*/ 702170 w 931508"/>
              <a:gd name="connsiteY12" fmla="*/ 1028014 h 1282340"/>
              <a:gd name="connsiteX13" fmla="*/ 382230 w 931508"/>
              <a:gd name="connsiteY13" fmla="*/ 1028014 h 1282340"/>
              <a:gd name="connsiteX14" fmla="*/ 382230 w 931508"/>
              <a:gd name="connsiteY14" fmla="*/ 1121713 h 1282340"/>
              <a:gd name="connsiteX15" fmla="*/ 331266 w 931508"/>
              <a:gd name="connsiteY15" fmla="*/ 1204704 h 1282340"/>
              <a:gd name="connsiteX16" fmla="*/ 240663 w 931508"/>
              <a:gd name="connsiteY16" fmla="*/ 1204704 h 1282340"/>
              <a:gd name="connsiteX17" fmla="*/ 240663 w 931508"/>
              <a:gd name="connsiteY17" fmla="*/ 1282340 h 1282340"/>
              <a:gd name="connsiteX18" fmla="*/ 152892 w 931508"/>
              <a:gd name="connsiteY18" fmla="*/ 1274309 h 1282340"/>
              <a:gd name="connsiteX19" fmla="*/ 110422 w 931508"/>
              <a:gd name="connsiteY19" fmla="*/ 1167224 h 1282340"/>
              <a:gd name="connsiteX20" fmla="*/ 50964 w 931508"/>
              <a:gd name="connsiteY20" fmla="*/ 1167224 h 1282340"/>
              <a:gd name="connsiteX21" fmla="*/ 0 w 931508"/>
              <a:gd name="connsiteY21" fmla="*/ 1121713 h 1282340"/>
              <a:gd name="connsiteX22" fmla="*/ 50964 w 931508"/>
              <a:gd name="connsiteY22" fmla="*/ 1017305 h 1282340"/>
              <a:gd name="connsiteX23" fmla="*/ 50964 w 931508"/>
              <a:gd name="connsiteY23" fmla="*/ 931638 h 1282340"/>
              <a:gd name="connsiteX24" fmla="*/ 90603 w 931508"/>
              <a:gd name="connsiteY24" fmla="*/ 856678 h 1282340"/>
              <a:gd name="connsiteX25" fmla="*/ 138735 w 931508"/>
              <a:gd name="connsiteY25" fmla="*/ 744239 h 1282340"/>
              <a:gd name="connsiteX26" fmla="*/ 232169 w 931508"/>
              <a:gd name="connsiteY26" fmla="*/ 698728 h 1282340"/>
              <a:gd name="connsiteX27" fmla="*/ 319941 w 931508"/>
              <a:gd name="connsiteY27" fmla="*/ 623769 h 1282340"/>
              <a:gd name="connsiteX28" fmla="*/ 549278 w 931508"/>
              <a:gd name="connsiteY28" fmla="*/ 610383 h 1282340"/>
              <a:gd name="connsiteX29" fmla="*/ 549278 w 931508"/>
              <a:gd name="connsiteY29" fmla="*/ 519361 h 1282340"/>
              <a:gd name="connsiteX30" fmla="*/ 512471 w 931508"/>
              <a:gd name="connsiteY30" fmla="*/ 519361 h 1282340"/>
              <a:gd name="connsiteX31" fmla="*/ 520965 w 931508"/>
              <a:gd name="connsiteY31" fmla="*/ 412276 h 1282340"/>
              <a:gd name="connsiteX32" fmla="*/ 549278 w 931508"/>
              <a:gd name="connsiteY32" fmla="*/ 385505 h 1282340"/>
              <a:gd name="connsiteX33" fmla="*/ 563435 w 931508"/>
              <a:gd name="connsiteY33" fmla="*/ 187398 h 1282340"/>
              <a:gd name="connsiteX34" fmla="*/ 600242 w 931508"/>
              <a:gd name="connsiteY34" fmla="*/ 112439 h 1282340"/>
              <a:gd name="connsiteX35" fmla="*/ 651206 w 931508"/>
              <a:gd name="connsiteY35" fmla="*/ 112439 h 1282340"/>
              <a:gd name="connsiteX36" fmla="*/ 693676 w 931508"/>
              <a:gd name="connsiteY36" fmla="*/ 66928 h 1282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931508" h="1282340">
                <a:moveTo>
                  <a:pt x="741809" y="0"/>
                </a:moveTo>
                <a:lnTo>
                  <a:pt x="792773" y="74959"/>
                </a:lnTo>
                <a:lnTo>
                  <a:pt x="832412" y="74959"/>
                </a:lnTo>
                <a:lnTo>
                  <a:pt x="792773" y="112439"/>
                </a:lnTo>
                <a:lnTo>
                  <a:pt x="843737" y="262358"/>
                </a:lnTo>
                <a:lnTo>
                  <a:pt x="843737" y="444402"/>
                </a:lnTo>
                <a:lnTo>
                  <a:pt x="880544" y="583612"/>
                </a:lnTo>
                <a:lnTo>
                  <a:pt x="931508" y="677311"/>
                </a:lnTo>
                <a:lnTo>
                  <a:pt x="923014" y="800459"/>
                </a:lnTo>
                <a:lnTo>
                  <a:pt x="880544" y="904866"/>
                </a:lnTo>
                <a:lnTo>
                  <a:pt x="832412" y="904866"/>
                </a:lnTo>
                <a:lnTo>
                  <a:pt x="792773" y="953055"/>
                </a:lnTo>
                <a:lnTo>
                  <a:pt x="702170" y="1028014"/>
                </a:lnTo>
                <a:lnTo>
                  <a:pt x="382230" y="1028014"/>
                </a:lnTo>
                <a:lnTo>
                  <a:pt x="382230" y="1121713"/>
                </a:lnTo>
                <a:lnTo>
                  <a:pt x="331266" y="1204704"/>
                </a:lnTo>
                <a:lnTo>
                  <a:pt x="240663" y="1204704"/>
                </a:lnTo>
                <a:lnTo>
                  <a:pt x="240663" y="1282340"/>
                </a:lnTo>
                <a:lnTo>
                  <a:pt x="152892" y="1274309"/>
                </a:lnTo>
                <a:lnTo>
                  <a:pt x="110422" y="1167224"/>
                </a:lnTo>
                <a:lnTo>
                  <a:pt x="50964" y="1167224"/>
                </a:lnTo>
                <a:lnTo>
                  <a:pt x="0" y="1121713"/>
                </a:lnTo>
                <a:lnTo>
                  <a:pt x="50964" y="1017305"/>
                </a:lnTo>
                <a:lnTo>
                  <a:pt x="50964" y="931638"/>
                </a:lnTo>
                <a:lnTo>
                  <a:pt x="90603" y="856678"/>
                </a:lnTo>
                <a:lnTo>
                  <a:pt x="138735" y="744239"/>
                </a:lnTo>
                <a:lnTo>
                  <a:pt x="232169" y="698728"/>
                </a:lnTo>
                <a:lnTo>
                  <a:pt x="319941" y="623769"/>
                </a:lnTo>
                <a:lnTo>
                  <a:pt x="549278" y="610383"/>
                </a:lnTo>
                <a:lnTo>
                  <a:pt x="549278" y="519361"/>
                </a:lnTo>
                <a:lnTo>
                  <a:pt x="512471" y="519361"/>
                </a:lnTo>
                <a:lnTo>
                  <a:pt x="520965" y="412276"/>
                </a:lnTo>
                <a:lnTo>
                  <a:pt x="549278" y="385505"/>
                </a:lnTo>
                <a:lnTo>
                  <a:pt x="563435" y="187398"/>
                </a:lnTo>
                <a:lnTo>
                  <a:pt x="600242" y="112439"/>
                </a:lnTo>
                <a:lnTo>
                  <a:pt x="651206" y="112439"/>
                </a:lnTo>
                <a:lnTo>
                  <a:pt x="693676" y="669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 marL="1828800" indent="0">
              <a:buNone/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39" name="Espaço Reservado para Texto 156">
            <a:extLst>
              <a:ext uri="{FF2B5EF4-FFF2-40B4-BE49-F238E27FC236}">
                <a16:creationId xmlns:a16="http://schemas.microsoft.com/office/drawing/2014/main" id="{AC90E9EA-3D40-4E83-B7BB-EFC004F098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300959" y="1996319"/>
            <a:ext cx="812702" cy="1170807"/>
          </a:xfrm>
          <a:custGeom>
            <a:avLst/>
            <a:gdLst>
              <a:gd name="connsiteX0" fmla="*/ 463184 w 812702"/>
              <a:gd name="connsiteY0" fmla="*/ 0 h 1170807"/>
              <a:gd name="connsiteX1" fmla="*/ 514333 w 812702"/>
              <a:gd name="connsiteY1" fmla="*/ 0 h 1170807"/>
              <a:gd name="connsiteX2" fmla="*/ 562640 w 812702"/>
              <a:gd name="connsiteY2" fmla="*/ 34832 h 1170807"/>
              <a:gd name="connsiteX3" fmla="*/ 551274 w 812702"/>
              <a:gd name="connsiteY3" fmla="*/ 235789 h 1170807"/>
              <a:gd name="connsiteX4" fmla="*/ 514333 w 812702"/>
              <a:gd name="connsiteY4" fmla="*/ 273301 h 1170807"/>
              <a:gd name="connsiteX5" fmla="*/ 551274 w 812702"/>
              <a:gd name="connsiteY5" fmla="*/ 273301 h 1170807"/>
              <a:gd name="connsiteX6" fmla="*/ 551274 w 812702"/>
              <a:gd name="connsiteY6" fmla="*/ 321530 h 1170807"/>
              <a:gd name="connsiteX7" fmla="*/ 622314 w 812702"/>
              <a:gd name="connsiteY7" fmla="*/ 415310 h 1170807"/>
              <a:gd name="connsiteX8" fmla="*/ 724612 w 812702"/>
              <a:gd name="connsiteY8" fmla="*/ 415310 h 1170807"/>
              <a:gd name="connsiteX9" fmla="*/ 724612 w 812702"/>
              <a:gd name="connsiteY9" fmla="*/ 479616 h 1170807"/>
              <a:gd name="connsiteX10" fmla="*/ 673463 w 812702"/>
              <a:gd name="connsiteY10" fmla="*/ 479616 h 1170807"/>
              <a:gd name="connsiteX11" fmla="*/ 622314 w 812702"/>
              <a:gd name="connsiteY11" fmla="*/ 554640 h 1170807"/>
              <a:gd name="connsiteX12" fmla="*/ 673463 w 812702"/>
              <a:gd name="connsiteY12" fmla="*/ 602869 h 1170807"/>
              <a:gd name="connsiteX13" fmla="*/ 673463 w 812702"/>
              <a:gd name="connsiteY13" fmla="*/ 651099 h 1170807"/>
              <a:gd name="connsiteX14" fmla="*/ 724612 w 812702"/>
              <a:gd name="connsiteY14" fmla="*/ 736840 h 1170807"/>
              <a:gd name="connsiteX15" fmla="*/ 761553 w 812702"/>
              <a:gd name="connsiteY15" fmla="*/ 736840 h 1170807"/>
              <a:gd name="connsiteX16" fmla="*/ 812702 w 812702"/>
              <a:gd name="connsiteY16" fmla="*/ 782390 h 1170807"/>
              <a:gd name="connsiteX17" fmla="*/ 724612 w 812702"/>
              <a:gd name="connsiteY17" fmla="*/ 819902 h 1170807"/>
              <a:gd name="connsiteX18" fmla="*/ 724612 w 812702"/>
              <a:gd name="connsiteY18" fmla="*/ 897605 h 1170807"/>
              <a:gd name="connsiteX19" fmla="*/ 673463 w 812702"/>
              <a:gd name="connsiteY19" fmla="*/ 935117 h 1170807"/>
              <a:gd name="connsiteX20" fmla="*/ 761553 w 812702"/>
              <a:gd name="connsiteY20" fmla="*/ 980667 h 1170807"/>
              <a:gd name="connsiteX21" fmla="*/ 724612 w 812702"/>
              <a:gd name="connsiteY21" fmla="*/ 980667 h 1170807"/>
              <a:gd name="connsiteX22" fmla="*/ 724612 w 812702"/>
              <a:gd name="connsiteY22" fmla="*/ 1028897 h 1170807"/>
              <a:gd name="connsiteX23" fmla="*/ 724612 w 812702"/>
              <a:gd name="connsiteY23" fmla="*/ 1066409 h 1170807"/>
              <a:gd name="connsiteX24" fmla="*/ 724612 w 812702"/>
              <a:gd name="connsiteY24" fmla="*/ 1103921 h 1170807"/>
              <a:gd name="connsiteX25" fmla="*/ 761553 w 812702"/>
              <a:gd name="connsiteY25" fmla="*/ 1103921 h 1170807"/>
              <a:gd name="connsiteX26" fmla="*/ 741662 w 812702"/>
              <a:gd name="connsiteY26" fmla="*/ 1130715 h 1170807"/>
              <a:gd name="connsiteX27" fmla="*/ 772920 w 812702"/>
              <a:gd name="connsiteY27" fmla="*/ 1152150 h 1170807"/>
              <a:gd name="connsiteX28" fmla="*/ 673463 w 812702"/>
              <a:gd name="connsiteY28" fmla="*/ 1152150 h 1170807"/>
              <a:gd name="connsiteX29" fmla="*/ 582531 w 812702"/>
              <a:gd name="connsiteY29" fmla="*/ 1152150 h 1170807"/>
              <a:gd name="connsiteX30" fmla="*/ 514333 w 812702"/>
              <a:gd name="connsiteY30" fmla="*/ 1152150 h 1170807"/>
              <a:gd name="connsiteX31" fmla="*/ 463184 w 812702"/>
              <a:gd name="connsiteY31" fmla="*/ 1103921 h 1170807"/>
              <a:gd name="connsiteX32" fmla="*/ 372252 w 812702"/>
              <a:gd name="connsiteY32" fmla="*/ 1103921 h 1170807"/>
              <a:gd name="connsiteX33" fmla="*/ 321103 w 812702"/>
              <a:gd name="connsiteY33" fmla="*/ 1152150 h 1170807"/>
              <a:gd name="connsiteX34" fmla="*/ 233013 w 812702"/>
              <a:gd name="connsiteY34" fmla="*/ 1152150 h 1170807"/>
              <a:gd name="connsiteX35" fmla="*/ 190388 w 812702"/>
              <a:gd name="connsiteY35" fmla="*/ 1103921 h 1170807"/>
              <a:gd name="connsiteX36" fmla="*/ 90932 w 812702"/>
              <a:gd name="connsiteY36" fmla="*/ 1103921 h 1170807"/>
              <a:gd name="connsiteX37" fmla="*/ 90932 w 812702"/>
              <a:gd name="connsiteY37" fmla="*/ 1152150 h 1170807"/>
              <a:gd name="connsiteX38" fmla="*/ 51359 w 812702"/>
              <a:gd name="connsiteY38" fmla="*/ 1170807 h 1170807"/>
              <a:gd name="connsiteX39" fmla="*/ 51104 w 812702"/>
              <a:gd name="connsiteY39" fmla="*/ 1170807 h 1170807"/>
              <a:gd name="connsiteX40" fmla="*/ 42624 w 812702"/>
              <a:gd name="connsiteY40" fmla="*/ 1152150 h 1170807"/>
              <a:gd name="connsiteX41" fmla="*/ 0 w 812702"/>
              <a:gd name="connsiteY41" fmla="*/ 1103921 h 1170807"/>
              <a:gd name="connsiteX42" fmla="*/ 0 w 812702"/>
              <a:gd name="connsiteY42" fmla="*/ 897605 h 1170807"/>
              <a:gd name="connsiteX43" fmla="*/ 90932 w 812702"/>
              <a:gd name="connsiteY43" fmla="*/ 699328 h 1170807"/>
              <a:gd name="connsiteX44" fmla="*/ 190388 w 812702"/>
              <a:gd name="connsiteY44" fmla="*/ 568037 h 1170807"/>
              <a:gd name="connsiteX45" fmla="*/ 241538 w 812702"/>
              <a:gd name="connsiteY45" fmla="*/ 479616 h 1170807"/>
              <a:gd name="connsiteX46" fmla="*/ 292687 w 812702"/>
              <a:gd name="connsiteY46" fmla="*/ 356363 h 1170807"/>
              <a:gd name="connsiteX47" fmla="*/ 241538 w 812702"/>
              <a:gd name="connsiteY47" fmla="*/ 321530 h 1170807"/>
              <a:gd name="connsiteX48" fmla="*/ 292687 w 812702"/>
              <a:gd name="connsiteY48" fmla="*/ 273301 h 1170807"/>
              <a:gd name="connsiteX49" fmla="*/ 284162 w 812702"/>
              <a:gd name="connsiteY49" fmla="*/ 235789 h 1170807"/>
              <a:gd name="connsiteX50" fmla="*/ 321103 w 812702"/>
              <a:gd name="connsiteY50" fmla="*/ 187559 h 1170807"/>
              <a:gd name="connsiteX51" fmla="*/ 423401 w 812702"/>
              <a:gd name="connsiteY51" fmla="*/ 142009 h 1170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812702" h="1170807">
                <a:moveTo>
                  <a:pt x="463184" y="0"/>
                </a:moveTo>
                <a:lnTo>
                  <a:pt x="514333" y="0"/>
                </a:lnTo>
                <a:lnTo>
                  <a:pt x="562640" y="34832"/>
                </a:lnTo>
                <a:lnTo>
                  <a:pt x="551274" y="235789"/>
                </a:lnTo>
                <a:lnTo>
                  <a:pt x="514333" y="273301"/>
                </a:lnTo>
                <a:lnTo>
                  <a:pt x="551274" y="273301"/>
                </a:lnTo>
                <a:lnTo>
                  <a:pt x="551274" y="321530"/>
                </a:lnTo>
                <a:lnTo>
                  <a:pt x="622314" y="415310"/>
                </a:lnTo>
                <a:lnTo>
                  <a:pt x="724612" y="415310"/>
                </a:lnTo>
                <a:lnTo>
                  <a:pt x="724612" y="479616"/>
                </a:lnTo>
                <a:lnTo>
                  <a:pt x="673463" y="479616"/>
                </a:lnTo>
                <a:lnTo>
                  <a:pt x="622314" y="554640"/>
                </a:lnTo>
                <a:lnTo>
                  <a:pt x="673463" y="602869"/>
                </a:lnTo>
                <a:lnTo>
                  <a:pt x="673463" y="651099"/>
                </a:lnTo>
                <a:lnTo>
                  <a:pt x="724612" y="736840"/>
                </a:lnTo>
                <a:lnTo>
                  <a:pt x="761553" y="736840"/>
                </a:lnTo>
                <a:lnTo>
                  <a:pt x="812702" y="782390"/>
                </a:lnTo>
                <a:lnTo>
                  <a:pt x="724612" y="819902"/>
                </a:lnTo>
                <a:lnTo>
                  <a:pt x="724612" y="897605"/>
                </a:lnTo>
                <a:lnTo>
                  <a:pt x="673463" y="935117"/>
                </a:lnTo>
                <a:lnTo>
                  <a:pt x="761553" y="980667"/>
                </a:lnTo>
                <a:lnTo>
                  <a:pt x="724612" y="980667"/>
                </a:lnTo>
                <a:lnTo>
                  <a:pt x="724612" y="1028897"/>
                </a:lnTo>
                <a:lnTo>
                  <a:pt x="724612" y="1066409"/>
                </a:lnTo>
                <a:lnTo>
                  <a:pt x="724612" y="1103921"/>
                </a:lnTo>
                <a:lnTo>
                  <a:pt x="761553" y="1103921"/>
                </a:lnTo>
                <a:lnTo>
                  <a:pt x="741662" y="1130715"/>
                </a:lnTo>
                <a:lnTo>
                  <a:pt x="772920" y="1152150"/>
                </a:lnTo>
                <a:lnTo>
                  <a:pt x="673463" y="1152150"/>
                </a:lnTo>
                <a:lnTo>
                  <a:pt x="582531" y="1152150"/>
                </a:lnTo>
                <a:lnTo>
                  <a:pt x="514333" y="1152150"/>
                </a:lnTo>
                <a:lnTo>
                  <a:pt x="463184" y="1103921"/>
                </a:lnTo>
                <a:lnTo>
                  <a:pt x="372252" y="1103921"/>
                </a:lnTo>
                <a:lnTo>
                  <a:pt x="321103" y="1152150"/>
                </a:lnTo>
                <a:lnTo>
                  <a:pt x="233013" y="1152150"/>
                </a:lnTo>
                <a:lnTo>
                  <a:pt x="190388" y="1103921"/>
                </a:lnTo>
                <a:lnTo>
                  <a:pt x="90932" y="1103921"/>
                </a:lnTo>
                <a:lnTo>
                  <a:pt x="90932" y="1152150"/>
                </a:lnTo>
                <a:lnTo>
                  <a:pt x="51359" y="1170807"/>
                </a:lnTo>
                <a:lnTo>
                  <a:pt x="51104" y="1170807"/>
                </a:lnTo>
                <a:lnTo>
                  <a:pt x="42624" y="1152150"/>
                </a:lnTo>
                <a:lnTo>
                  <a:pt x="0" y="1103921"/>
                </a:lnTo>
                <a:lnTo>
                  <a:pt x="0" y="897605"/>
                </a:lnTo>
                <a:lnTo>
                  <a:pt x="90932" y="699328"/>
                </a:lnTo>
                <a:lnTo>
                  <a:pt x="190388" y="568037"/>
                </a:lnTo>
                <a:lnTo>
                  <a:pt x="241538" y="479616"/>
                </a:lnTo>
                <a:lnTo>
                  <a:pt x="292687" y="356363"/>
                </a:lnTo>
                <a:lnTo>
                  <a:pt x="241538" y="321530"/>
                </a:lnTo>
                <a:lnTo>
                  <a:pt x="292687" y="273301"/>
                </a:lnTo>
                <a:lnTo>
                  <a:pt x="284162" y="235789"/>
                </a:lnTo>
                <a:lnTo>
                  <a:pt x="321103" y="187559"/>
                </a:lnTo>
                <a:lnTo>
                  <a:pt x="423401" y="1420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>
              <a:defRPr lang="pt-BR" dirty="0" smtClean="0"/>
            </a:lvl3pPr>
            <a:lvl4pPr>
              <a:defRPr lang="pt-BR" dirty="0" smtClean="0"/>
            </a:lvl4pPr>
            <a:lvl5pPr marL="1828800" indent="0">
              <a:buNone/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0" name="Espaço Reservado para Texto 160">
            <a:extLst>
              <a:ext uri="{FF2B5EF4-FFF2-40B4-BE49-F238E27FC236}">
                <a16:creationId xmlns:a16="http://schemas.microsoft.com/office/drawing/2014/main" id="{0AFF4A17-BC09-4FB3-B1EE-10EDC1DDC5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321399" y="1947830"/>
            <a:ext cx="575266" cy="377314"/>
          </a:xfrm>
          <a:custGeom>
            <a:avLst/>
            <a:gdLst>
              <a:gd name="connsiteX0" fmla="*/ 201202 w 575266"/>
              <a:gd name="connsiteY0" fmla="*/ 0 h 377314"/>
              <a:gd name="connsiteX1" fmla="*/ 255044 w 575266"/>
              <a:gd name="connsiteY1" fmla="*/ 48168 h 377314"/>
              <a:gd name="connsiteX2" fmla="*/ 342893 w 575266"/>
              <a:gd name="connsiteY2" fmla="*/ 82956 h 377314"/>
              <a:gd name="connsiteX3" fmla="*/ 484584 w 575266"/>
              <a:gd name="connsiteY3" fmla="*/ 82956 h 377314"/>
              <a:gd name="connsiteX4" fmla="*/ 535593 w 575266"/>
              <a:gd name="connsiteY4" fmla="*/ 152531 h 377314"/>
              <a:gd name="connsiteX5" fmla="*/ 575266 w 575266"/>
              <a:gd name="connsiteY5" fmla="*/ 283655 h 377314"/>
              <a:gd name="connsiteX6" fmla="*/ 518590 w 575266"/>
              <a:gd name="connsiteY6" fmla="*/ 283655 h 377314"/>
              <a:gd name="connsiteX7" fmla="*/ 461913 w 575266"/>
              <a:gd name="connsiteY7" fmla="*/ 283655 h 377314"/>
              <a:gd name="connsiteX8" fmla="*/ 399569 w 575266"/>
              <a:gd name="connsiteY8" fmla="*/ 283655 h 377314"/>
              <a:gd name="connsiteX9" fmla="*/ 342893 w 575266"/>
              <a:gd name="connsiteY9" fmla="*/ 283655 h 377314"/>
              <a:gd name="connsiteX10" fmla="*/ 303219 w 575266"/>
              <a:gd name="connsiteY10" fmla="*/ 329146 h 377314"/>
              <a:gd name="connsiteX11" fmla="*/ 303219 w 575266"/>
              <a:gd name="connsiteY11" fmla="*/ 377314 h 377314"/>
              <a:gd name="connsiteX12" fmla="*/ 255044 w 575266"/>
              <a:gd name="connsiteY12" fmla="*/ 329146 h 377314"/>
              <a:gd name="connsiteX13" fmla="*/ 161528 w 575266"/>
              <a:gd name="connsiteY13" fmla="*/ 329146 h 377314"/>
              <a:gd name="connsiteX14" fmla="*/ 161528 w 575266"/>
              <a:gd name="connsiteY14" fmla="*/ 283655 h 377314"/>
              <a:gd name="connsiteX15" fmla="*/ 201202 w 575266"/>
              <a:gd name="connsiteY15" fmla="*/ 246191 h 377314"/>
              <a:gd name="connsiteX16" fmla="*/ 201202 w 575266"/>
              <a:gd name="connsiteY16" fmla="*/ 198023 h 377314"/>
              <a:gd name="connsiteX17" fmla="*/ 141691 w 575266"/>
              <a:gd name="connsiteY17" fmla="*/ 246191 h 377314"/>
              <a:gd name="connsiteX18" fmla="*/ 90683 w 575266"/>
              <a:gd name="connsiteY18" fmla="*/ 283655 h 377314"/>
              <a:gd name="connsiteX19" fmla="*/ 0 w 575266"/>
              <a:gd name="connsiteY19" fmla="*/ 283655 h 377314"/>
              <a:gd name="connsiteX20" fmla="*/ 51009 w 575266"/>
              <a:gd name="connsiteY20" fmla="*/ 198023 h 377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75266" h="377314">
                <a:moveTo>
                  <a:pt x="201202" y="0"/>
                </a:moveTo>
                <a:lnTo>
                  <a:pt x="255044" y="48168"/>
                </a:lnTo>
                <a:lnTo>
                  <a:pt x="342893" y="82956"/>
                </a:lnTo>
                <a:lnTo>
                  <a:pt x="484584" y="82956"/>
                </a:lnTo>
                <a:lnTo>
                  <a:pt x="535593" y="152531"/>
                </a:lnTo>
                <a:lnTo>
                  <a:pt x="575266" y="283655"/>
                </a:lnTo>
                <a:lnTo>
                  <a:pt x="518590" y="283655"/>
                </a:lnTo>
                <a:lnTo>
                  <a:pt x="461913" y="283655"/>
                </a:lnTo>
                <a:lnTo>
                  <a:pt x="399569" y="283655"/>
                </a:lnTo>
                <a:lnTo>
                  <a:pt x="342893" y="283655"/>
                </a:lnTo>
                <a:lnTo>
                  <a:pt x="303219" y="329146"/>
                </a:lnTo>
                <a:lnTo>
                  <a:pt x="303219" y="377314"/>
                </a:lnTo>
                <a:lnTo>
                  <a:pt x="255044" y="329146"/>
                </a:lnTo>
                <a:lnTo>
                  <a:pt x="161528" y="329146"/>
                </a:lnTo>
                <a:lnTo>
                  <a:pt x="161528" y="283655"/>
                </a:lnTo>
                <a:lnTo>
                  <a:pt x="201202" y="246191"/>
                </a:lnTo>
                <a:lnTo>
                  <a:pt x="201202" y="198023"/>
                </a:lnTo>
                <a:lnTo>
                  <a:pt x="141691" y="246191"/>
                </a:lnTo>
                <a:lnTo>
                  <a:pt x="90683" y="283655"/>
                </a:lnTo>
                <a:lnTo>
                  <a:pt x="0" y="283655"/>
                </a:lnTo>
                <a:lnTo>
                  <a:pt x="51009" y="1980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1" name="Espaço Reservado para Texto 166">
            <a:extLst>
              <a:ext uri="{FF2B5EF4-FFF2-40B4-BE49-F238E27FC236}">
                <a16:creationId xmlns:a16="http://schemas.microsoft.com/office/drawing/2014/main" id="{0327941B-D547-4E31-B8F5-A81B1D71A3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321399" y="2145722"/>
            <a:ext cx="577904" cy="377314"/>
          </a:xfrm>
          <a:custGeom>
            <a:avLst/>
            <a:gdLst>
              <a:gd name="connsiteX0" fmla="*/ 208609 w 577904"/>
              <a:gd name="connsiteY0" fmla="*/ 0 h 377314"/>
              <a:gd name="connsiteX1" fmla="*/ 208609 w 577904"/>
              <a:gd name="connsiteY1" fmla="*/ 47829 h 377314"/>
              <a:gd name="connsiteX2" fmla="*/ 157867 w 577904"/>
              <a:gd name="connsiteY2" fmla="*/ 87686 h 377314"/>
              <a:gd name="connsiteX3" fmla="*/ 157867 w 577904"/>
              <a:gd name="connsiteY3" fmla="*/ 132857 h 377314"/>
              <a:gd name="connsiteX4" fmla="*/ 248076 w 577904"/>
              <a:gd name="connsiteY4" fmla="*/ 132857 h 377314"/>
              <a:gd name="connsiteX5" fmla="*/ 298819 w 577904"/>
              <a:gd name="connsiteY5" fmla="*/ 170057 h 377314"/>
              <a:gd name="connsiteX6" fmla="*/ 298819 w 577904"/>
              <a:gd name="connsiteY6" fmla="*/ 132857 h 377314"/>
              <a:gd name="connsiteX7" fmla="*/ 338286 w 577904"/>
              <a:gd name="connsiteY7" fmla="*/ 87686 h 377314"/>
              <a:gd name="connsiteX8" fmla="*/ 569447 w 577904"/>
              <a:gd name="connsiteY8" fmla="*/ 95657 h 377314"/>
              <a:gd name="connsiteX9" fmla="*/ 577904 w 577904"/>
              <a:gd name="connsiteY9" fmla="*/ 236486 h 377314"/>
              <a:gd name="connsiteX10" fmla="*/ 470781 w 577904"/>
              <a:gd name="connsiteY10" fmla="*/ 263057 h 377314"/>
              <a:gd name="connsiteX11" fmla="*/ 287543 w 577904"/>
              <a:gd name="connsiteY11" fmla="*/ 329486 h 377314"/>
              <a:gd name="connsiteX12" fmla="*/ 239619 w 577904"/>
              <a:gd name="connsiteY12" fmla="*/ 377314 h 377314"/>
              <a:gd name="connsiteX13" fmla="*/ 200152 w 577904"/>
              <a:gd name="connsiteY13" fmla="*/ 377314 h 377314"/>
              <a:gd name="connsiteX14" fmla="*/ 191695 w 577904"/>
              <a:gd name="connsiteY14" fmla="*/ 329486 h 377314"/>
              <a:gd name="connsiteX15" fmla="*/ 239619 w 577904"/>
              <a:gd name="connsiteY15" fmla="*/ 228514 h 377314"/>
              <a:gd name="connsiteX16" fmla="*/ 200152 w 577904"/>
              <a:gd name="connsiteY16" fmla="*/ 228514 h 377314"/>
              <a:gd name="connsiteX17" fmla="*/ 121219 w 577904"/>
              <a:gd name="connsiteY17" fmla="*/ 263057 h 377314"/>
              <a:gd name="connsiteX18" fmla="*/ 0 w 577904"/>
              <a:gd name="connsiteY18" fmla="*/ 263057 h 377314"/>
              <a:gd name="connsiteX19" fmla="*/ 0 w 577904"/>
              <a:gd name="connsiteY19" fmla="*/ 87686 h 377314"/>
              <a:gd name="connsiteX20" fmla="*/ 90210 w 577904"/>
              <a:gd name="connsiteY20" fmla="*/ 87686 h 377314"/>
              <a:gd name="connsiteX21" fmla="*/ 140952 w 577904"/>
              <a:gd name="connsiteY21" fmla="*/ 47829 h 377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77904" h="377314">
                <a:moveTo>
                  <a:pt x="208609" y="0"/>
                </a:moveTo>
                <a:lnTo>
                  <a:pt x="208609" y="47829"/>
                </a:lnTo>
                <a:lnTo>
                  <a:pt x="157867" y="87686"/>
                </a:lnTo>
                <a:lnTo>
                  <a:pt x="157867" y="132857"/>
                </a:lnTo>
                <a:lnTo>
                  <a:pt x="248076" y="132857"/>
                </a:lnTo>
                <a:lnTo>
                  <a:pt x="298819" y="170057"/>
                </a:lnTo>
                <a:lnTo>
                  <a:pt x="298819" y="132857"/>
                </a:lnTo>
                <a:lnTo>
                  <a:pt x="338286" y="87686"/>
                </a:lnTo>
                <a:lnTo>
                  <a:pt x="569447" y="95657"/>
                </a:lnTo>
                <a:lnTo>
                  <a:pt x="577904" y="236486"/>
                </a:lnTo>
                <a:lnTo>
                  <a:pt x="470781" y="263057"/>
                </a:lnTo>
                <a:lnTo>
                  <a:pt x="287543" y="329486"/>
                </a:lnTo>
                <a:lnTo>
                  <a:pt x="239619" y="377314"/>
                </a:lnTo>
                <a:lnTo>
                  <a:pt x="200152" y="377314"/>
                </a:lnTo>
                <a:lnTo>
                  <a:pt x="191695" y="329486"/>
                </a:lnTo>
                <a:lnTo>
                  <a:pt x="239619" y="228514"/>
                </a:lnTo>
                <a:lnTo>
                  <a:pt x="200152" y="228514"/>
                </a:lnTo>
                <a:lnTo>
                  <a:pt x="121219" y="263057"/>
                </a:lnTo>
                <a:lnTo>
                  <a:pt x="0" y="263057"/>
                </a:lnTo>
                <a:lnTo>
                  <a:pt x="0" y="87686"/>
                </a:lnTo>
                <a:lnTo>
                  <a:pt x="90210" y="87686"/>
                </a:lnTo>
                <a:lnTo>
                  <a:pt x="140952" y="4782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2" name="Espaço Reservado para Texto 170">
            <a:extLst>
              <a:ext uri="{FF2B5EF4-FFF2-40B4-BE49-F238E27FC236}">
                <a16:creationId xmlns:a16="http://schemas.microsoft.com/office/drawing/2014/main" id="{21E57651-3646-4097-9F0E-46FB75A447A4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10866365" y="2318499"/>
            <a:ext cx="1033475" cy="374380"/>
          </a:xfrm>
          <a:custGeom>
            <a:avLst/>
            <a:gdLst>
              <a:gd name="connsiteX0" fmla="*/ 122087 w 1033475"/>
              <a:gd name="connsiteY0" fmla="*/ 0 h 374380"/>
              <a:gd name="connsiteX1" fmla="*/ 312314 w 1033475"/>
              <a:gd name="connsiteY1" fmla="*/ 40401 h 374380"/>
              <a:gd name="connsiteX2" fmla="*/ 360581 w 1033475"/>
              <a:gd name="connsiteY2" fmla="*/ 86188 h 374380"/>
              <a:gd name="connsiteX3" fmla="*/ 584879 w 1033475"/>
              <a:gd name="connsiteY3" fmla="*/ 86188 h 374380"/>
              <a:gd name="connsiteX4" fmla="*/ 664377 w 1033475"/>
              <a:gd name="connsiteY4" fmla="*/ 40401 h 374380"/>
              <a:gd name="connsiteX5" fmla="*/ 701287 w 1033475"/>
              <a:gd name="connsiteY5" fmla="*/ 40401 h 374380"/>
              <a:gd name="connsiteX6" fmla="*/ 664377 w 1033475"/>
              <a:gd name="connsiteY6" fmla="*/ 153523 h 374380"/>
              <a:gd name="connsiteX7" fmla="*/ 664377 w 1033475"/>
              <a:gd name="connsiteY7" fmla="*/ 202004 h 374380"/>
              <a:gd name="connsiteX8" fmla="*/ 701287 w 1033475"/>
              <a:gd name="connsiteY8" fmla="*/ 202004 h 374380"/>
              <a:gd name="connsiteX9" fmla="*/ 752393 w 1033475"/>
              <a:gd name="connsiteY9" fmla="*/ 153523 h 374380"/>
              <a:gd name="connsiteX10" fmla="*/ 934103 w 1033475"/>
              <a:gd name="connsiteY10" fmla="*/ 86188 h 374380"/>
              <a:gd name="connsiteX11" fmla="*/ 1033475 w 1033475"/>
              <a:gd name="connsiteY11" fmla="*/ 56561 h 374380"/>
              <a:gd name="connsiteX12" fmla="*/ 1024958 w 1033475"/>
              <a:gd name="connsiteY12" fmla="*/ 202004 h 374380"/>
              <a:gd name="connsiteX13" fmla="*/ 982369 w 1033475"/>
              <a:gd name="connsiteY13" fmla="*/ 325899 h 374380"/>
              <a:gd name="connsiteX14" fmla="*/ 794981 w 1033475"/>
              <a:gd name="connsiteY14" fmla="*/ 325899 h 374380"/>
              <a:gd name="connsiteX15" fmla="*/ 664377 w 1033475"/>
              <a:gd name="connsiteY15" fmla="*/ 374380 h 374380"/>
              <a:gd name="connsiteX16" fmla="*/ 613271 w 1033475"/>
              <a:gd name="connsiteY16" fmla="*/ 325899 h 374380"/>
              <a:gd name="connsiteX17" fmla="*/ 593397 w 1033475"/>
              <a:gd name="connsiteY17" fmla="*/ 285499 h 374380"/>
              <a:gd name="connsiteX18" fmla="*/ 499702 w 1033475"/>
              <a:gd name="connsiteY18" fmla="*/ 325899 h 374380"/>
              <a:gd name="connsiteX19" fmla="*/ 451436 w 1033475"/>
              <a:gd name="connsiteY19" fmla="*/ 285499 h 374380"/>
              <a:gd name="connsiteX20" fmla="*/ 403169 w 1033475"/>
              <a:gd name="connsiteY20" fmla="*/ 285499 h 374380"/>
              <a:gd name="connsiteX21" fmla="*/ 312314 w 1033475"/>
              <a:gd name="connsiteY21" fmla="*/ 202004 h 374380"/>
              <a:gd name="connsiteX22" fmla="*/ 221459 w 1033475"/>
              <a:gd name="connsiteY22" fmla="*/ 285499 h 374380"/>
              <a:gd name="connsiteX23" fmla="*/ 173192 w 1033475"/>
              <a:gd name="connsiteY23" fmla="*/ 285499 h 374380"/>
              <a:gd name="connsiteX24" fmla="*/ 122087 w 1033475"/>
              <a:gd name="connsiteY24" fmla="*/ 325899 h 374380"/>
              <a:gd name="connsiteX25" fmla="*/ 79498 w 1033475"/>
              <a:gd name="connsiteY25" fmla="*/ 325899 h 374380"/>
              <a:gd name="connsiteX26" fmla="*/ 31232 w 1033475"/>
              <a:gd name="connsiteY26" fmla="*/ 285499 h 374380"/>
              <a:gd name="connsiteX27" fmla="*/ 42589 w 1033475"/>
              <a:gd name="connsiteY27" fmla="*/ 228938 h 374380"/>
              <a:gd name="connsiteX28" fmla="*/ 0 w 1033475"/>
              <a:gd name="connsiteY28" fmla="*/ 228938 h 374380"/>
              <a:gd name="connsiteX29" fmla="*/ 31232 w 1033475"/>
              <a:gd name="connsiteY29" fmla="*/ 183150 h 374380"/>
              <a:gd name="connsiteX30" fmla="*/ 79498 w 1033475"/>
              <a:gd name="connsiteY30" fmla="*/ 191230 h 374380"/>
              <a:gd name="connsiteX31" fmla="*/ 122087 w 1033475"/>
              <a:gd name="connsiteY31" fmla="*/ 86188 h 37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33475" h="374380">
                <a:moveTo>
                  <a:pt x="122087" y="0"/>
                </a:moveTo>
                <a:lnTo>
                  <a:pt x="312314" y="40401"/>
                </a:lnTo>
                <a:lnTo>
                  <a:pt x="360581" y="86188"/>
                </a:lnTo>
                <a:lnTo>
                  <a:pt x="584879" y="86188"/>
                </a:lnTo>
                <a:lnTo>
                  <a:pt x="664377" y="40401"/>
                </a:lnTo>
                <a:lnTo>
                  <a:pt x="701287" y="40401"/>
                </a:lnTo>
                <a:lnTo>
                  <a:pt x="664377" y="153523"/>
                </a:lnTo>
                <a:lnTo>
                  <a:pt x="664377" y="202004"/>
                </a:lnTo>
                <a:lnTo>
                  <a:pt x="701287" y="202004"/>
                </a:lnTo>
                <a:lnTo>
                  <a:pt x="752393" y="153523"/>
                </a:lnTo>
                <a:lnTo>
                  <a:pt x="934103" y="86188"/>
                </a:lnTo>
                <a:lnTo>
                  <a:pt x="1033475" y="56561"/>
                </a:lnTo>
                <a:lnTo>
                  <a:pt x="1024958" y="202004"/>
                </a:lnTo>
                <a:lnTo>
                  <a:pt x="982369" y="325899"/>
                </a:lnTo>
                <a:lnTo>
                  <a:pt x="794981" y="325899"/>
                </a:lnTo>
                <a:lnTo>
                  <a:pt x="664377" y="374380"/>
                </a:lnTo>
                <a:lnTo>
                  <a:pt x="613271" y="325899"/>
                </a:lnTo>
                <a:lnTo>
                  <a:pt x="593397" y="285499"/>
                </a:lnTo>
                <a:lnTo>
                  <a:pt x="499702" y="325899"/>
                </a:lnTo>
                <a:lnTo>
                  <a:pt x="451436" y="285499"/>
                </a:lnTo>
                <a:lnTo>
                  <a:pt x="403169" y="285499"/>
                </a:lnTo>
                <a:lnTo>
                  <a:pt x="312314" y="202004"/>
                </a:lnTo>
                <a:lnTo>
                  <a:pt x="221459" y="285499"/>
                </a:lnTo>
                <a:lnTo>
                  <a:pt x="173192" y="285499"/>
                </a:lnTo>
                <a:lnTo>
                  <a:pt x="122087" y="325899"/>
                </a:lnTo>
                <a:lnTo>
                  <a:pt x="79498" y="325899"/>
                </a:lnTo>
                <a:lnTo>
                  <a:pt x="31232" y="285499"/>
                </a:lnTo>
                <a:lnTo>
                  <a:pt x="42589" y="228938"/>
                </a:lnTo>
                <a:lnTo>
                  <a:pt x="0" y="228938"/>
                </a:lnTo>
                <a:lnTo>
                  <a:pt x="31232" y="183150"/>
                </a:lnTo>
                <a:lnTo>
                  <a:pt x="79498" y="191230"/>
                </a:lnTo>
                <a:lnTo>
                  <a:pt x="122087" y="861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 marL="914400" indent="0">
              <a:buNone/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3" name="Espaço Reservado para Texto 174">
            <a:extLst>
              <a:ext uri="{FF2B5EF4-FFF2-40B4-BE49-F238E27FC236}">
                <a16:creationId xmlns:a16="http://schemas.microsoft.com/office/drawing/2014/main" id="{F8C7DAA4-2C45-4BB9-B54A-FB0A39A4FD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368125" y="2607728"/>
            <a:ext cx="477629" cy="292880"/>
          </a:xfrm>
          <a:custGeom>
            <a:avLst/>
            <a:gdLst>
              <a:gd name="connsiteX0" fmla="*/ 90439 w 477629"/>
              <a:gd name="connsiteY0" fmla="*/ 0 h 292880"/>
              <a:gd name="connsiteX1" fmla="*/ 110222 w 477629"/>
              <a:gd name="connsiteY1" fmla="*/ 48366 h 292880"/>
              <a:gd name="connsiteX2" fmla="*/ 161094 w 477629"/>
              <a:gd name="connsiteY2" fmla="*/ 85983 h 292880"/>
              <a:gd name="connsiteX3" fmla="*/ 291100 w 477629"/>
              <a:gd name="connsiteY3" fmla="*/ 37618 h 292880"/>
              <a:gd name="connsiteX4" fmla="*/ 358929 w 477629"/>
              <a:gd name="connsiteY4" fmla="*/ 37618 h 292880"/>
              <a:gd name="connsiteX5" fmla="*/ 477629 w 477629"/>
              <a:gd name="connsiteY5" fmla="*/ 37618 h 292880"/>
              <a:gd name="connsiteX6" fmla="*/ 260011 w 477629"/>
              <a:gd name="connsiteY6" fmla="*/ 292880 h 292880"/>
              <a:gd name="connsiteX7" fmla="*/ 211966 w 477629"/>
              <a:gd name="connsiteY7" fmla="*/ 180027 h 292880"/>
              <a:gd name="connsiteX8" fmla="*/ 50872 w 477629"/>
              <a:gd name="connsiteY8" fmla="*/ 96731 h 292880"/>
              <a:gd name="connsiteX9" fmla="*/ 0 w 477629"/>
              <a:gd name="connsiteY9" fmla="*/ 48366 h 29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7629" h="292880">
                <a:moveTo>
                  <a:pt x="90439" y="0"/>
                </a:moveTo>
                <a:lnTo>
                  <a:pt x="110222" y="48366"/>
                </a:lnTo>
                <a:lnTo>
                  <a:pt x="161094" y="85983"/>
                </a:lnTo>
                <a:lnTo>
                  <a:pt x="291100" y="37618"/>
                </a:lnTo>
                <a:lnTo>
                  <a:pt x="358929" y="37618"/>
                </a:lnTo>
                <a:lnTo>
                  <a:pt x="477629" y="37618"/>
                </a:lnTo>
                <a:lnTo>
                  <a:pt x="260011" y="292880"/>
                </a:lnTo>
                <a:lnTo>
                  <a:pt x="211966" y="180027"/>
                </a:lnTo>
                <a:lnTo>
                  <a:pt x="50872" y="96731"/>
                </a:lnTo>
                <a:lnTo>
                  <a:pt x="0" y="483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4" name="Espaço Reservado para Texto 178">
            <a:extLst>
              <a:ext uri="{FF2B5EF4-FFF2-40B4-BE49-F238E27FC236}">
                <a16:creationId xmlns:a16="http://schemas.microsoft.com/office/drawing/2014/main" id="{3F4E4EA5-DE37-49F8-82CE-6FC52C74E8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371928" y="2702430"/>
            <a:ext cx="252769" cy="313583"/>
          </a:xfrm>
          <a:custGeom>
            <a:avLst/>
            <a:gdLst>
              <a:gd name="connsiteX0" fmla="*/ 48831 w 252769"/>
              <a:gd name="connsiteY0" fmla="*/ 0 h 313583"/>
              <a:gd name="connsiteX1" fmla="*/ 203939 w 252769"/>
              <a:gd name="connsiteY1" fmla="*/ 85766 h 313583"/>
              <a:gd name="connsiteX2" fmla="*/ 252769 w 252769"/>
              <a:gd name="connsiteY2" fmla="*/ 198335 h 313583"/>
              <a:gd name="connsiteX3" fmla="*/ 120640 w 252769"/>
              <a:gd name="connsiteY3" fmla="*/ 235857 h 313583"/>
              <a:gd name="connsiteX4" fmla="*/ 91916 w 252769"/>
              <a:gd name="connsiteY4" fmla="*/ 313583 h 313583"/>
              <a:gd name="connsiteX5" fmla="*/ 40213 w 252769"/>
              <a:gd name="connsiteY5" fmla="*/ 313583 h 313583"/>
              <a:gd name="connsiteX6" fmla="*/ 40213 w 252769"/>
              <a:gd name="connsiteY6" fmla="*/ 265340 h 313583"/>
              <a:gd name="connsiteX7" fmla="*/ 0 w 252769"/>
              <a:gd name="connsiteY7" fmla="*/ 190294 h 313583"/>
              <a:gd name="connsiteX8" fmla="*/ 40213 w 252769"/>
              <a:gd name="connsiteY8" fmla="*/ 176893 h 313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769" h="313583">
                <a:moveTo>
                  <a:pt x="48831" y="0"/>
                </a:moveTo>
                <a:lnTo>
                  <a:pt x="203939" y="85766"/>
                </a:lnTo>
                <a:lnTo>
                  <a:pt x="252769" y="198335"/>
                </a:lnTo>
                <a:lnTo>
                  <a:pt x="120640" y="235857"/>
                </a:lnTo>
                <a:lnTo>
                  <a:pt x="91916" y="313583"/>
                </a:lnTo>
                <a:lnTo>
                  <a:pt x="40213" y="313583"/>
                </a:lnTo>
                <a:lnTo>
                  <a:pt x="40213" y="265340"/>
                </a:lnTo>
                <a:lnTo>
                  <a:pt x="0" y="190294"/>
                </a:lnTo>
                <a:lnTo>
                  <a:pt x="40213" y="17689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5" name="Espaço Reservado para Texto 182">
            <a:extLst>
              <a:ext uri="{FF2B5EF4-FFF2-40B4-BE49-F238E27FC236}">
                <a16:creationId xmlns:a16="http://schemas.microsoft.com/office/drawing/2014/main" id="{C9A55D87-6F61-4867-80BD-568DD2738A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3696" y="2523239"/>
            <a:ext cx="1487820" cy="1510320"/>
          </a:xfrm>
          <a:custGeom>
            <a:avLst/>
            <a:gdLst>
              <a:gd name="connsiteX0" fmla="*/ 1198206 w 1487820"/>
              <a:gd name="connsiteY0" fmla="*/ 0 h 1510320"/>
              <a:gd name="connsiteX1" fmla="*/ 1246475 w 1487820"/>
              <a:gd name="connsiteY1" fmla="*/ 48287 h 1510320"/>
              <a:gd name="connsiteX2" fmla="*/ 1289066 w 1487820"/>
              <a:gd name="connsiteY2" fmla="*/ 83162 h 1510320"/>
              <a:gd name="connsiteX3" fmla="*/ 1337335 w 1487820"/>
              <a:gd name="connsiteY3" fmla="*/ 83162 h 1510320"/>
              <a:gd name="connsiteX4" fmla="*/ 1436712 w 1487820"/>
              <a:gd name="connsiteY4" fmla="*/ 179736 h 1510320"/>
              <a:gd name="connsiteX5" fmla="*/ 1436712 w 1487820"/>
              <a:gd name="connsiteY5" fmla="*/ 222658 h 1510320"/>
              <a:gd name="connsiteX6" fmla="*/ 1436712 w 1487820"/>
              <a:gd name="connsiteY6" fmla="*/ 268263 h 1510320"/>
              <a:gd name="connsiteX7" fmla="*/ 1436712 w 1487820"/>
              <a:gd name="connsiteY7" fmla="*/ 313868 h 1510320"/>
              <a:gd name="connsiteX8" fmla="*/ 1436712 w 1487820"/>
              <a:gd name="connsiteY8" fmla="*/ 359472 h 1510320"/>
              <a:gd name="connsiteX9" fmla="*/ 1399800 w 1487820"/>
              <a:gd name="connsiteY9" fmla="*/ 359472 h 1510320"/>
              <a:gd name="connsiteX10" fmla="*/ 1436712 w 1487820"/>
              <a:gd name="connsiteY10" fmla="*/ 445317 h 1510320"/>
              <a:gd name="connsiteX11" fmla="*/ 1436712 w 1487820"/>
              <a:gd name="connsiteY11" fmla="*/ 490921 h 1510320"/>
              <a:gd name="connsiteX12" fmla="*/ 1487820 w 1487820"/>
              <a:gd name="connsiteY12" fmla="*/ 490921 h 1510320"/>
              <a:gd name="connsiteX13" fmla="*/ 1436712 w 1487820"/>
              <a:gd name="connsiteY13" fmla="*/ 576765 h 1510320"/>
              <a:gd name="connsiteX14" fmla="*/ 1348692 w 1487820"/>
              <a:gd name="connsiteY14" fmla="*/ 659927 h 1510320"/>
              <a:gd name="connsiteX15" fmla="*/ 1306102 w 1487820"/>
              <a:gd name="connsiteY15" fmla="*/ 659927 h 1510320"/>
              <a:gd name="connsiteX16" fmla="*/ 1260672 w 1487820"/>
              <a:gd name="connsiteY16" fmla="*/ 659927 h 1510320"/>
              <a:gd name="connsiteX17" fmla="*/ 1260672 w 1487820"/>
              <a:gd name="connsiteY17" fmla="*/ 726993 h 1510320"/>
              <a:gd name="connsiteX18" fmla="*/ 1209564 w 1487820"/>
              <a:gd name="connsiteY18" fmla="*/ 775280 h 1510320"/>
              <a:gd name="connsiteX19" fmla="*/ 1209564 w 1487820"/>
              <a:gd name="connsiteY19" fmla="*/ 874537 h 1510320"/>
              <a:gd name="connsiteX20" fmla="*/ 1209564 w 1487820"/>
              <a:gd name="connsiteY20" fmla="*/ 981842 h 1510320"/>
              <a:gd name="connsiteX21" fmla="*/ 1209564 w 1487820"/>
              <a:gd name="connsiteY21" fmla="*/ 1089147 h 1510320"/>
              <a:gd name="connsiteX22" fmla="*/ 1209564 w 1487820"/>
              <a:gd name="connsiteY22" fmla="*/ 1188405 h 1510320"/>
              <a:gd name="connsiteX23" fmla="*/ 1158455 w 1487820"/>
              <a:gd name="connsiteY23" fmla="*/ 1360093 h 1510320"/>
              <a:gd name="connsiteX24" fmla="*/ 1158455 w 1487820"/>
              <a:gd name="connsiteY24" fmla="*/ 1453985 h 1510320"/>
              <a:gd name="connsiteX25" fmla="*/ 1078954 w 1487820"/>
              <a:gd name="connsiteY25" fmla="*/ 1510320 h 1510320"/>
              <a:gd name="connsiteX26" fmla="*/ 976737 w 1487820"/>
              <a:gd name="connsiteY26" fmla="*/ 1453985 h 1510320"/>
              <a:gd name="connsiteX27" fmla="*/ 976737 w 1487820"/>
              <a:gd name="connsiteY27" fmla="*/ 1405698 h 1510320"/>
              <a:gd name="connsiteX28" fmla="*/ 928468 w 1487820"/>
              <a:gd name="connsiteY28" fmla="*/ 1360093 h 1510320"/>
              <a:gd name="connsiteX29" fmla="*/ 928468 w 1487820"/>
              <a:gd name="connsiteY29" fmla="*/ 1319854 h 1510320"/>
              <a:gd name="connsiteX30" fmla="*/ 976737 w 1487820"/>
              <a:gd name="connsiteY30" fmla="*/ 1274249 h 1510320"/>
              <a:gd name="connsiteX31" fmla="*/ 1027845 w 1487820"/>
              <a:gd name="connsiteY31" fmla="*/ 1236692 h 1510320"/>
              <a:gd name="connsiteX32" fmla="*/ 1078954 w 1487820"/>
              <a:gd name="connsiteY32" fmla="*/ 1236692 h 1510320"/>
              <a:gd name="connsiteX33" fmla="*/ 1078954 w 1487820"/>
              <a:gd name="connsiteY33" fmla="*/ 1188405 h 1510320"/>
              <a:gd name="connsiteX34" fmla="*/ 1027845 w 1487820"/>
              <a:gd name="connsiteY34" fmla="*/ 1188405 h 1510320"/>
              <a:gd name="connsiteX35" fmla="*/ 976737 w 1487820"/>
              <a:gd name="connsiteY35" fmla="*/ 1140117 h 1510320"/>
              <a:gd name="connsiteX36" fmla="*/ 837609 w 1487820"/>
              <a:gd name="connsiteY36" fmla="*/ 1086465 h 1510320"/>
              <a:gd name="connsiteX37" fmla="*/ 789340 w 1487820"/>
              <a:gd name="connsiteY37" fmla="*/ 989890 h 1510320"/>
              <a:gd name="connsiteX38" fmla="*/ 698481 w 1487820"/>
              <a:gd name="connsiteY38" fmla="*/ 1000621 h 1510320"/>
              <a:gd name="connsiteX39" fmla="*/ 519601 w 1487820"/>
              <a:gd name="connsiteY39" fmla="*/ 914777 h 1510320"/>
              <a:gd name="connsiteX40" fmla="*/ 519601 w 1487820"/>
              <a:gd name="connsiteY40" fmla="*/ 955016 h 1510320"/>
              <a:gd name="connsiteX41" fmla="*/ 468493 w 1487820"/>
              <a:gd name="connsiteY41" fmla="*/ 955016 h 1510320"/>
              <a:gd name="connsiteX42" fmla="*/ 420224 w 1487820"/>
              <a:gd name="connsiteY42" fmla="*/ 914777 h 1510320"/>
              <a:gd name="connsiteX43" fmla="*/ 420224 w 1487820"/>
              <a:gd name="connsiteY43" fmla="*/ 866489 h 1510320"/>
              <a:gd name="connsiteX44" fmla="*/ 329365 w 1487820"/>
              <a:gd name="connsiteY44" fmla="*/ 866489 h 1510320"/>
              <a:gd name="connsiteX45" fmla="*/ 139128 w 1487820"/>
              <a:gd name="connsiteY45" fmla="*/ 955016 h 1510320"/>
              <a:gd name="connsiteX46" fmla="*/ 119253 w 1487820"/>
              <a:gd name="connsiteY46" fmla="*/ 963064 h 1510320"/>
              <a:gd name="connsiteX47" fmla="*/ 102217 w 1487820"/>
              <a:gd name="connsiteY47" fmla="*/ 955016 h 1510320"/>
              <a:gd name="connsiteX48" fmla="*/ 102217 w 1487820"/>
              <a:gd name="connsiteY48" fmla="*/ 906729 h 1510320"/>
              <a:gd name="connsiteX49" fmla="*/ 102217 w 1487820"/>
              <a:gd name="connsiteY49" fmla="*/ 866489 h 1510320"/>
              <a:gd name="connsiteX50" fmla="*/ 59627 w 1487820"/>
              <a:gd name="connsiteY50" fmla="*/ 775280 h 1510320"/>
              <a:gd name="connsiteX51" fmla="*/ 59627 w 1487820"/>
              <a:gd name="connsiteY51" fmla="*/ 726993 h 1510320"/>
              <a:gd name="connsiteX52" fmla="*/ 102217 w 1487820"/>
              <a:gd name="connsiteY52" fmla="*/ 726993 h 1510320"/>
              <a:gd name="connsiteX53" fmla="*/ 59627 w 1487820"/>
              <a:gd name="connsiteY53" fmla="*/ 659927 h 1510320"/>
              <a:gd name="connsiteX54" fmla="*/ 59627 w 1487820"/>
              <a:gd name="connsiteY54" fmla="*/ 641148 h 1510320"/>
              <a:gd name="connsiteX55" fmla="*/ 59627 w 1487820"/>
              <a:gd name="connsiteY55" fmla="*/ 625053 h 1510320"/>
              <a:gd name="connsiteX56" fmla="*/ 102217 w 1487820"/>
              <a:gd name="connsiteY56" fmla="*/ 576765 h 1510320"/>
              <a:gd name="connsiteX57" fmla="*/ 51109 w 1487820"/>
              <a:gd name="connsiteY57" fmla="*/ 576765 h 1510320"/>
              <a:gd name="connsiteX58" fmla="*/ 51109 w 1487820"/>
              <a:gd name="connsiteY58" fmla="*/ 536526 h 1510320"/>
              <a:gd name="connsiteX59" fmla="*/ 51109 w 1487820"/>
              <a:gd name="connsiteY59" fmla="*/ 490921 h 1510320"/>
              <a:gd name="connsiteX60" fmla="*/ 51109 w 1487820"/>
              <a:gd name="connsiteY60" fmla="*/ 453364 h 1510320"/>
              <a:gd name="connsiteX61" fmla="*/ 88020 w 1487820"/>
              <a:gd name="connsiteY61" fmla="*/ 445317 h 1510320"/>
              <a:gd name="connsiteX62" fmla="*/ 0 w 1487820"/>
              <a:gd name="connsiteY62" fmla="*/ 405077 h 1510320"/>
              <a:gd name="connsiteX63" fmla="*/ 51109 w 1487820"/>
              <a:gd name="connsiteY63" fmla="*/ 359472 h 1510320"/>
              <a:gd name="connsiteX64" fmla="*/ 51109 w 1487820"/>
              <a:gd name="connsiteY64" fmla="*/ 303137 h 1510320"/>
              <a:gd name="connsiteX65" fmla="*/ 139128 w 1487820"/>
              <a:gd name="connsiteY65" fmla="*/ 254850 h 1510320"/>
              <a:gd name="connsiteX66" fmla="*/ 198755 w 1487820"/>
              <a:gd name="connsiteY66" fmla="*/ 254850 h 1510320"/>
              <a:gd name="connsiteX67" fmla="*/ 241345 w 1487820"/>
              <a:gd name="connsiteY67" fmla="*/ 359472 h 1510320"/>
              <a:gd name="connsiteX68" fmla="*/ 329365 w 1487820"/>
              <a:gd name="connsiteY68" fmla="*/ 359472 h 1510320"/>
              <a:gd name="connsiteX69" fmla="*/ 329365 w 1487820"/>
              <a:gd name="connsiteY69" fmla="*/ 295089 h 1510320"/>
              <a:gd name="connsiteX70" fmla="*/ 420224 w 1487820"/>
              <a:gd name="connsiteY70" fmla="*/ 295089 h 1510320"/>
              <a:gd name="connsiteX71" fmla="*/ 468493 w 1487820"/>
              <a:gd name="connsiteY71" fmla="*/ 206563 h 1510320"/>
              <a:gd name="connsiteX72" fmla="*/ 468493 w 1487820"/>
              <a:gd name="connsiteY72" fmla="*/ 112671 h 1510320"/>
              <a:gd name="connsiteX73" fmla="*/ 545156 w 1487820"/>
              <a:gd name="connsiteY73" fmla="*/ 112671 h 1510320"/>
              <a:gd name="connsiteX74" fmla="*/ 627497 w 1487820"/>
              <a:gd name="connsiteY74" fmla="*/ 112671 h 1510320"/>
              <a:gd name="connsiteX75" fmla="*/ 712677 w 1487820"/>
              <a:gd name="connsiteY75" fmla="*/ 112671 h 1510320"/>
              <a:gd name="connsiteX76" fmla="*/ 789340 w 1487820"/>
              <a:gd name="connsiteY76" fmla="*/ 112671 h 1510320"/>
              <a:gd name="connsiteX77" fmla="*/ 888717 w 1487820"/>
              <a:gd name="connsiteY77" fmla="*/ 26826 h 1510320"/>
              <a:gd name="connsiteX78" fmla="*/ 928468 w 1487820"/>
              <a:gd name="connsiteY78" fmla="*/ 26826 h 1510320"/>
              <a:gd name="connsiteX79" fmla="*/ 919950 w 1487820"/>
              <a:gd name="connsiteY79" fmla="*/ 83162 h 1510320"/>
              <a:gd name="connsiteX80" fmla="*/ 968219 w 1487820"/>
              <a:gd name="connsiteY80" fmla="*/ 131449 h 1510320"/>
              <a:gd name="connsiteX81" fmla="*/ 1007970 w 1487820"/>
              <a:gd name="connsiteY81" fmla="*/ 123401 h 1510320"/>
              <a:gd name="connsiteX82" fmla="*/ 1059078 w 1487820"/>
              <a:gd name="connsiteY82" fmla="*/ 83162 h 1510320"/>
              <a:gd name="connsiteX83" fmla="*/ 1107347 w 1487820"/>
              <a:gd name="connsiteY83" fmla="*/ 83162 h 1510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1487820" h="1510320">
                <a:moveTo>
                  <a:pt x="1198206" y="0"/>
                </a:moveTo>
                <a:lnTo>
                  <a:pt x="1246475" y="48287"/>
                </a:lnTo>
                <a:lnTo>
                  <a:pt x="1289066" y="83162"/>
                </a:lnTo>
                <a:lnTo>
                  <a:pt x="1337335" y="83162"/>
                </a:lnTo>
                <a:lnTo>
                  <a:pt x="1436712" y="179736"/>
                </a:lnTo>
                <a:lnTo>
                  <a:pt x="1436712" y="222658"/>
                </a:lnTo>
                <a:lnTo>
                  <a:pt x="1436712" y="268263"/>
                </a:lnTo>
                <a:lnTo>
                  <a:pt x="1436712" y="313868"/>
                </a:lnTo>
                <a:lnTo>
                  <a:pt x="1436712" y="359472"/>
                </a:lnTo>
                <a:lnTo>
                  <a:pt x="1399800" y="359472"/>
                </a:lnTo>
                <a:lnTo>
                  <a:pt x="1436712" y="445317"/>
                </a:lnTo>
                <a:lnTo>
                  <a:pt x="1436712" y="490921"/>
                </a:lnTo>
                <a:lnTo>
                  <a:pt x="1487820" y="490921"/>
                </a:lnTo>
                <a:lnTo>
                  <a:pt x="1436712" y="576765"/>
                </a:lnTo>
                <a:lnTo>
                  <a:pt x="1348692" y="659927"/>
                </a:lnTo>
                <a:lnTo>
                  <a:pt x="1306102" y="659927"/>
                </a:lnTo>
                <a:lnTo>
                  <a:pt x="1260672" y="659927"/>
                </a:lnTo>
                <a:lnTo>
                  <a:pt x="1260672" y="726993"/>
                </a:lnTo>
                <a:lnTo>
                  <a:pt x="1209564" y="775280"/>
                </a:lnTo>
                <a:lnTo>
                  <a:pt x="1209564" y="874537"/>
                </a:lnTo>
                <a:lnTo>
                  <a:pt x="1209564" y="981842"/>
                </a:lnTo>
                <a:lnTo>
                  <a:pt x="1209564" y="1089147"/>
                </a:lnTo>
                <a:lnTo>
                  <a:pt x="1209564" y="1188405"/>
                </a:lnTo>
                <a:lnTo>
                  <a:pt x="1158455" y="1360093"/>
                </a:lnTo>
                <a:lnTo>
                  <a:pt x="1158455" y="1453985"/>
                </a:lnTo>
                <a:lnTo>
                  <a:pt x="1078954" y="1510320"/>
                </a:lnTo>
                <a:lnTo>
                  <a:pt x="976737" y="1453985"/>
                </a:lnTo>
                <a:lnTo>
                  <a:pt x="976737" y="1405698"/>
                </a:lnTo>
                <a:lnTo>
                  <a:pt x="928468" y="1360093"/>
                </a:lnTo>
                <a:lnTo>
                  <a:pt x="928468" y="1319854"/>
                </a:lnTo>
                <a:lnTo>
                  <a:pt x="976737" y="1274249"/>
                </a:lnTo>
                <a:lnTo>
                  <a:pt x="1027845" y="1236692"/>
                </a:lnTo>
                <a:lnTo>
                  <a:pt x="1078954" y="1236692"/>
                </a:lnTo>
                <a:lnTo>
                  <a:pt x="1078954" y="1188405"/>
                </a:lnTo>
                <a:lnTo>
                  <a:pt x="1027845" y="1188405"/>
                </a:lnTo>
                <a:lnTo>
                  <a:pt x="976737" y="1140117"/>
                </a:lnTo>
                <a:lnTo>
                  <a:pt x="837609" y="1086465"/>
                </a:lnTo>
                <a:lnTo>
                  <a:pt x="789340" y="989890"/>
                </a:lnTo>
                <a:lnTo>
                  <a:pt x="698481" y="1000621"/>
                </a:lnTo>
                <a:lnTo>
                  <a:pt x="519601" y="914777"/>
                </a:lnTo>
                <a:lnTo>
                  <a:pt x="519601" y="955016"/>
                </a:lnTo>
                <a:lnTo>
                  <a:pt x="468493" y="955016"/>
                </a:lnTo>
                <a:lnTo>
                  <a:pt x="420224" y="914777"/>
                </a:lnTo>
                <a:lnTo>
                  <a:pt x="420224" y="866489"/>
                </a:lnTo>
                <a:lnTo>
                  <a:pt x="329365" y="866489"/>
                </a:lnTo>
                <a:lnTo>
                  <a:pt x="139128" y="955016"/>
                </a:lnTo>
                <a:lnTo>
                  <a:pt x="119253" y="963064"/>
                </a:lnTo>
                <a:lnTo>
                  <a:pt x="102217" y="955016"/>
                </a:lnTo>
                <a:lnTo>
                  <a:pt x="102217" y="906729"/>
                </a:lnTo>
                <a:lnTo>
                  <a:pt x="102217" y="866489"/>
                </a:lnTo>
                <a:lnTo>
                  <a:pt x="59627" y="775280"/>
                </a:lnTo>
                <a:lnTo>
                  <a:pt x="59627" y="726993"/>
                </a:lnTo>
                <a:lnTo>
                  <a:pt x="102217" y="726993"/>
                </a:lnTo>
                <a:lnTo>
                  <a:pt x="59627" y="659927"/>
                </a:lnTo>
                <a:lnTo>
                  <a:pt x="59627" y="641148"/>
                </a:lnTo>
                <a:lnTo>
                  <a:pt x="59627" y="625053"/>
                </a:lnTo>
                <a:lnTo>
                  <a:pt x="102217" y="576765"/>
                </a:lnTo>
                <a:lnTo>
                  <a:pt x="51109" y="576765"/>
                </a:lnTo>
                <a:lnTo>
                  <a:pt x="51109" y="536526"/>
                </a:lnTo>
                <a:lnTo>
                  <a:pt x="51109" y="490921"/>
                </a:lnTo>
                <a:lnTo>
                  <a:pt x="51109" y="453364"/>
                </a:lnTo>
                <a:lnTo>
                  <a:pt x="88020" y="445317"/>
                </a:lnTo>
                <a:lnTo>
                  <a:pt x="0" y="405077"/>
                </a:lnTo>
                <a:lnTo>
                  <a:pt x="51109" y="359472"/>
                </a:lnTo>
                <a:lnTo>
                  <a:pt x="51109" y="303137"/>
                </a:lnTo>
                <a:lnTo>
                  <a:pt x="139128" y="254850"/>
                </a:lnTo>
                <a:lnTo>
                  <a:pt x="198755" y="254850"/>
                </a:lnTo>
                <a:lnTo>
                  <a:pt x="241345" y="359472"/>
                </a:lnTo>
                <a:lnTo>
                  <a:pt x="329365" y="359472"/>
                </a:lnTo>
                <a:lnTo>
                  <a:pt x="329365" y="295089"/>
                </a:lnTo>
                <a:lnTo>
                  <a:pt x="420224" y="295089"/>
                </a:lnTo>
                <a:lnTo>
                  <a:pt x="468493" y="206563"/>
                </a:lnTo>
                <a:lnTo>
                  <a:pt x="468493" y="112671"/>
                </a:lnTo>
                <a:lnTo>
                  <a:pt x="545156" y="112671"/>
                </a:lnTo>
                <a:lnTo>
                  <a:pt x="627497" y="112671"/>
                </a:lnTo>
                <a:lnTo>
                  <a:pt x="712677" y="112671"/>
                </a:lnTo>
                <a:lnTo>
                  <a:pt x="789340" y="112671"/>
                </a:lnTo>
                <a:lnTo>
                  <a:pt x="888717" y="26826"/>
                </a:lnTo>
                <a:lnTo>
                  <a:pt x="928468" y="26826"/>
                </a:lnTo>
                <a:lnTo>
                  <a:pt x="919950" y="83162"/>
                </a:lnTo>
                <a:lnTo>
                  <a:pt x="968219" y="131449"/>
                </a:lnTo>
                <a:lnTo>
                  <a:pt x="1007970" y="123401"/>
                </a:lnTo>
                <a:lnTo>
                  <a:pt x="1059078" y="83162"/>
                </a:lnTo>
                <a:lnTo>
                  <a:pt x="1107347" y="831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smtClean="0"/>
            </a:lvl2pPr>
            <a:lvl3pPr marL="914400" indent="0">
              <a:buNone/>
              <a:defRPr lang="pt-BR" smtClean="0"/>
            </a:lvl3pPr>
            <a:lvl4pPr marL="1371600" indent="0">
              <a:buNone/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6" name="Espaço Reservado para Texto 186">
            <a:extLst>
              <a:ext uri="{FF2B5EF4-FFF2-40B4-BE49-F238E27FC236}">
                <a16:creationId xmlns:a16="http://schemas.microsoft.com/office/drawing/2014/main" id="{FB37C139-663C-47C9-AAF7-F458A9D5E3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53783" y="3393742"/>
            <a:ext cx="1794983" cy="1327930"/>
          </a:xfrm>
          <a:custGeom>
            <a:avLst/>
            <a:gdLst>
              <a:gd name="connsiteX0" fmla="*/ 1052526 w 1794983"/>
              <a:gd name="connsiteY0" fmla="*/ 0 h 1327930"/>
              <a:gd name="connsiteX1" fmla="*/ 1140710 w 1794983"/>
              <a:gd name="connsiteY1" fmla="*/ 0 h 1327930"/>
              <a:gd name="connsiteX2" fmla="*/ 1140710 w 1794983"/>
              <a:gd name="connsiteY2" fmla="*/ 48094 h 1327930"/>
              <a:gd name="connsiteX3" fmla="*/ 1191914 w 1794983"/>
              <a:gd name="connsiteY3" fmla="*/ 85501 h 1327930"/>
              <a:gd name="connsiteX4" fmla="*/ 1234584 w 1794983"/>
              <a:gd name="connsiteY4" fmla="*/ 85501 h 1327930"/>
              <a:gd name="connsiteX5" fmla="*/ 1234584 w 1794983"/>
              <a:gd name="connsiteY5" fmla="*/ 48094 h 1327930"/>
              <a:gd name="connsiteX6" fmla="*/ 1334148 w 1794983"/>
              <a:gd name="connsiteY6" fmla="*/ 85501 h 1327930"/>
              <a:gd name="connsiteX7" fmla="*/ 1422332 w 1794983"/>
              <a:gd name="connsiteY7" fmla="*/ 130923 h 1327930"/>
              <a:gd name="connsiteX8" fmla="*/ 1513361 w 1794983"/>
              <a:gd name="connsiteY8" fmla="*/ 130923 h 1327930"/>
              <a:gd name="connsiteX9" fmla="*/ 1561721 w 1794983"/>
              <a:gd name="connsiteY9" fmla="*/ 205736 h 1327930"/>
              <a:gd name="connsiteX10" fmla="*/ 1703954 w 1794983"/>
              <a:gd name="connsiteY10" fmla="*/ 272533 h 1327930"/>
              <a:gd name="connsiteX11" fmla="*/ 1743779 w 1794983"/>
              <a:gd name="connsiteY11" fmla="*/ 320627 h 1327930"/>
              <a:gd name="connsiteX12" fmla="*/ 1794983 w 1794983"/>
              <a:gd name="connsiteY12" fmla="*/ 320627 h 1327930"/>
              <a:gd name="connsiteX13" fmla="*/ 1794983 w 1794983"/>
              <a:gd name="connsiteY13" fmla="*/ 368721 h 1327930"/>
              <a:gd name="connsiteX14" fmla="*/ 1752313 w 1794983"/>
              <a:gd name="connsiteY14" fmla="*/ 358034 h 1327930"/>
              <a:gd name="connsiteX15" fmla="*/ 1655595 w 1794983"/>
              <a:gd name="connsiteY15" fmla="*/ 451550 h 1327930"/>
              <a:gd name="connsiteX16" fmla="*/ 1655595 w 1794983"/>
              <a:gd name="connsiteY16" fmla="*/ 491628 h 1327930"/>
              <a:gd name="connsiteX17" fmla="*/ 1703954 w 1794983"/>
              <a:gd name="connsiteY17" fmla="*/ 534378 h 1327930"/>
              <a:gd name="connsiteX18" fmla="*/ 1703954 w 1794983"/>
              <a:gd name="connsiteY18" fmla="*/ 582472 h 1327930"/>
              <a:gd name="connsiteX19" fmla="*/ 1561721 w 1794983"/>
              <a:gd name="connsiteY19" fmla="*/ 593160 h 1327930"/>
              <a:gd name="connsiteX20" fmla="*/ 1553187 w 1794983"/>
              <a:gd name="connsiteY20" fmla="*/ 836302 h 1327930"/>
              <a:gd name="connsiteX21" fmla="*/ 1513361 w 1794983"/>
              <a:gd name="connsiteY21" fmla="*/ 911115 h 1327930"/>
              <a:gd name="connsiteX22" fmla="*/ 1473536 w 1794983"/>
              <a:gd name="connsiteY22" fmla="*/ 911115 h 1327930"/>
              <a:gd name="connsiteX23" fmla="*/ 1422332 w 1794983"/>
              <a:gd name="connsiteY23" fmla="*/ 959209 h 1327930"/>
              <a:gd name="connsiteX24" fmla="*/ 1413798 w 1794983"/>
              <a:gd name="connsiteY24" fmla="*/ 1017991 h 1327930"/>
              <a:gd name="connsiteX25" fmla="*/ 1365439 w 1794983"/>
              <a:gd name="connsiteY25" fmla="*/ 1074101 h 1327930"/>
              <a:gd name="connsiteX26" fmla="*/ 1322769 w 1794983"/>
              <a:gd name="connsiteY26" fmla="*/ 1148913 h 1327930"/>
              <a:gd name="connsiteX27" fmla="*/ 1191914 w 1794983"/>
              <a:gd name="connsiteY27" fmla="*/ 1197008 h 1327930"/>
              <a:gd name="connsiteX28" fmla="*/ 1092351 w 1794983"/>
              <a:gd name="connsiteY28" fmla="*/ 1197008 h 1327930"/>
              <a:gd name="connsiteX29" fmla="*/ 961497 w 1794983"/>
              <a:gd name="connsiteY29" fmla="*/ 1231742 h 1327930"/>
              <a:gd name="connsiteX30" fmla="*/ 913137 w 1794983"/>
              <a:gd name="connsiteY30" fmla="*/ 1279836 h 1327930"/>
              <a:gd name="connsiteX31" fmla="*/ 822108 w 1794983"/>
              <a:gd name="connsiteY31" fmla="*/ 1279836 h 1327930"/>
              <a:gd name="connsiteX32" fmla="*/ 770904 w 1794983"/>
              <a:gd name="connsiteY32" fmla="*/ 1327930 h 1327930"/>
              <a:gd name="connsiteX33" fmla="*/ 719700 w 1794983"/>
              <a:gd name="connsiteY33" fmla="*/ 1327930 h 1327930"/>
              <a:gd name="connsiteX34" fmla="*/ 719700 w 1794983"/>
              <a:gd name="connsiteY34" fmla="*/ 1279836 h 1327930"/>
              <a:gd name="connsiteX35" fmla="*/ 682720 w 1794983"/>
              <a:gd name="connsiteY35" fmla="*/ 1242430 h 1327930"/>
              <a:gd name="connsiteX36" fmla="*/ 631516 w 1794983"/>
              <a:gd name="connsiteY36" fmla="*/ 1197008 h 1327930"/>
              <a:gd name="connsiteX37" fmla="*/ 668496 w 1794983"/>
              <a:gd name="connsiteY37" fmla="*/ 1108835 h 1327930"/>
              <a:gd name="connsiteX38" fmla="*/ 631516 w 1794983"/>
              <a:gd name="connsiteY38" fmla="*/ 1108835 h 1327930"/>
              <a:gd name="connsiteX39" fmla="*/ 600224 w 1794983"/>
              <a:gd name="connsiteY39" fmla="*/ 1074101 h 1327930"/>
              <a:gd name="connsiteX40" fmla="*/ 611603 w 1794983"/>
              <a:gd name="connsiteY40" fmla="*/ 903099 h 1327930"/>
              <a:gd name="connsiteX41" fmla="*/ 571778 w 1794983"/>
              <a:gd name="connsiteY41" fmla="*/ 868365 h 1327930"/>
              <a:gd name="connsiteX42" fmla="*/ 378341 w 1794983"/>
              <a:gd name="connsiteY42" fmla="*/ 868365 h 1327930"/>
              <a:gd name="connsiteX43" fmla="*/ 341360 w 1794983"/>
              <a:gd name="connsiteY43" fmla="*/ 903099 h 1327930"/>
              <a:gd name="connsiteX44" fmla="*/ 290156 w 1794983"/>
              <a:gd name="connsiteY44" fmla="*/ 868365 h 1327930"/>
              <a:gd name="connsiteX45" fmla="*/ 150767 w 1794983"/>
              <a:gd name="connsiteY45" fmla="*/ 868365 h 1327930"/>
              <a:gd name="connsiteX46" fmla="*/ 99563 w 1794983"/>
              <a:gd name="connsiteY46" fmla="*/ 820271 h 1327930"/>
              <a:gd name="connsiteX47" fmla="*/ 0 w 1794983"/>
              <a:gd name="connsiteY47" fmla="*/ 868365 h 1327930"/>
              <a:gd name="connsiteX48" fmla="*/ 8534 w 1794983"/>
              <a:gd name="connsiteY48" fmla="*/ 780192 h 1327930"/>
              <a:gd name="connsiteX49" fmla="*/ 48360 w 1794983"/>
              <a:gd name="connsiteY49" fmla="*/ 732098 h 1327930"/>
              <a:gd name="connsiteX50" fmla="*/ 99563 w 1794983"/>
              <a:gd name="connsiteY50" fmla="*/ 649270 h 1327930"/>
              <a:gd name="connsiteX51" fmla="*/ 238952 w 1794983"/>
              <a:gd name="connsiteY51" fmla="*/ 649270 h 1327930"/>
              <a:gd name="connsiteX52" fmla="*/ 281622 w 1794983"/>
              <a:gd name="connsiteY52" fmla="*/ 649270 h 1327930"/>
              <a:gd name="connsiteX53" fmla="*/ 332826 w 1794983"/>
              <a:gd name="connsiteY53" fmla="*/ 593160 h 1327930"/>
              <a:gd name="connsiteX54" fmla="*/ 429545 w 1794983"/>
              <a:gd name="connsiteY54" fmla="*/ 649270 h 1327930"/>
              <a:gd name="connsiteX55" fmla="*/ 509195 w 1794983"/>
              <a:gd name="connsiteY55" fmla="*/ 649270 h 1327930"/>
              <a:gd name="connsiteX56" fmla="*/ 611603 w 1794983"/>
              <a:gd name="connsiteY56" fmla="*/ 547738 h 1327930"/>
              <a:gd name="connsiteX57" fmla="*/ 611603 w 1794983"/>
              <a:gd name="connsiteY57" fmla="*/ 499644 h 1327930"/>
              <a:gd name="connsiteX58" fmla="*/ 560399 w 1794983"/>
              <a:gd name="connsiteY58" fmla="*/ 499644 h 1327930"/>
              <a:gd name="connsiteX59" fmla="*/ 560399 w 1794983"/>
              <a:gd name="connsiteY59" fmla="*/ 459565 h 1327930"/>
              <a:gd name="connsiteX60" fmla="*/ 611603 w 1794983"/>
              <a:gd name="connsiteY60" fmla="*/ 416815 h 1327930"/>
              <a:gd name="connsiteX61" fmla="*/ 611603 w 1794983"/>
              <a:gd name="connsiteY61" fmla="*/ 384752 h 1327930"/>
              <a:gd name="connsiteX62" fmla="*/ 611603 w 1794983"/>
              <a:gd name="connsiteY62" fmla="*/ 352690 h 1327930"/>
              <a:gd name="connsiteX63" fmla="*/ 611603 w 1794983"/>
              <a:gd name="connsiteY63" fmla="*/ 283221 h 1327930"/>
              <a:gd name="connsiteX64" fmla="*/ 682720 w 1794983"/>
              <a:gd name="connsiteY64" fmla="*/ 219095 h 1327930"/>
              <a:gd name="connsiteX65" fmla="*/ 682720 w 1794983"/>
              <a:gd name="connsiteY65" fmla="*/ 171001 h 1327930"/>
              <a:gd name="connsiteX66" fmla="*/ 631516 w 1794983"/>
              <a:gd name="connsiteY66" fmla="*/ 130923 h 1327930"/>
              <a:gd name="connsiteX67" fmla="*/ 682720 w 1794983"/>
              <a:gd name="connsiteY67" fmla="*/ 85501 h 1327930"/>
              <a:gd name="connsiteX68" fmla="*/ 719700 w 1794983"/>
              <a:gd name="connsiteY68" fmla="*/ 85501 h 1327930"/>
              <a:gd name="connsiteX69" fmla="*/ 719700 w 1794983"/>
              <a:gd name="connsiteY69" fmla="*/ 48094 h 1327930"/>
              <a:gd name="connsiteX70" fmla="*/ 770904 w 1794983"/>
              <a:gd name="connsiteY70" fmla="*/ 85501 h 1327930"/>
              <a:gd name="connsiteX71" fmla="*/ 822108 w 1794983"/>
              <a:gd name="connsiteY71" fmla="*/ 85501 h 1327930"/>
              <a:gd name="connsiteX72" fmla="*/ 842021 w 1794983"/>
              <a:gd name="connsiteY72" fmla="*/ 85501 h 1327930"/>
              <a:gd name="connsiteX73" fmla="*/ 861933 w 1794983"/>
              <a:gd name="connsiteY73" fmla="*/ 85501 h 1327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1794983" h="1327930">
                <a:moveTo>
                  <a:pt x="1052526" y="0"/>
                </a:moveTo>
                <a:lnTo>
                  <a:pt x="1140710" y="0"/>
                </a:lnTo>
                <a:lnTo>
                  <a:pt x="1140710" y="48094"/>
                </a:lnTo>
                <a:lnTo>
                  <a:pt x="1191914" y="85501"/>
                </a:lnTo>
                <a:lnTo>
                  <a:pt x="1234584" y="85501"/>
                </a:lnTo>
                <a:lnTo>
                  <a:pt x="1234584" y="48094"/>
                </a:lnTo>
                <a:lnTo>
                  <a:pt x="1334148" y="85501"/>
                </a:lnTo>
                <a:lnTo>
                  <a:pt x="1422332" y="130923"/>
                </a:lnTo>
                <a:lnTo>
                  <a:pt x="1513361" y="130923"/>
                </a:lnTo>
                <a:lnTo>
                  <a:pt x="1561721" y="205736"/>
                </a:lnTo>
                <a:lnTo>
                  <a:pt x="1703954" y="272533"/>
                </a:lnTo>
                <a:lnTo>
                  <a:pt x="1743779" y="320627"/>
                </a:lnTo>
                <a:lnTo>
                  <a:pt x="1794983" y="320627"/>
                </a:lnTo>
                <a:lnTo>
                  <a:pt x="1794983" y="368721"/>
                </a:lnTo>
                <a:lnTo>
                  <a:pt x="1752313" y="358034"/>
                </a:lnTo>
                <a:lnTo>
                  <a:pt x="1655595" y="451550"/>
                </a:lnTo>
                <a:lnTo>
                  <a:pt x="1655595" y="491628"/>
                </a:lnTo>
                <a:lnTo>
                  <a:pt x="1703954" y="534378"/>
                </a:lnTo>
                <a:lnTo>
                  <a:pt x="1703954" y="582472"/>
                </a:lnTo>
                <a:lnTo>
                  <a:pt x="1561721" y="593160"/>
                </a:lnTo>
                <a:lnTo>
                  <a:pt x="1553187" y="836302"/>
                </a:lnTo>
                <a:lnTo>
                  <a:pt x="1513361" y="911115"/>
                </a:lnTo>
                <a:lnTo>
                  <a:pt x="1473536" y="911115"/>
                </a:lnTo>
                <a:lnTo>
                  <a:pt x="1422332" y="959209"/>
                </a:lnTo>
                <a:lnTo>
                  <a:pt x="1413798" y="1017991"/>
                </a:lnTo>
                <a:lnTo>
                  <a:pt x="1365439" y="1074101"/>
                </a:lnTo>
                <a:lnTo>
                  <a:pt x="1322769" y="1148913"/>
                </a:lnTo>
                <a:lnTo>
                  <a:pt x="1191914" y="1197008"/>
                </a:lnTo>
                <a:lnTo>
                  <a:pt x="1092351" y="1197008"/>
                </a:lnTo>
                <a:lnTo>
                  <a:pt x="961497" y="1231742"/>
                </a:lnTo>
                <a:lnTo>
                  <a:pt x="913137" y="1279836"/>
                </a:lnTo>
                <a:lnTo>
                  <a:pt x="822108" y="1279836"/>
                </a:lnTo>
                <a:lnTo>
                  <a:pt x="770904" y="1327930"/>
                </a:lnTo>
                <a:lnTo>
                  <a:pt x="719700" y="1327930"/>
                </a:lnTo>
                <a:lnTo>
                  <a:pt x="719700" y="1279836"/>
                </a:lnTo>
                <a:lnTo>
                  <a:pt x="682720" y="1242430"/>
                </a:lnTo>
                <a:lnTo>
                  <a:pt x="631516" y="1197008"/>
                </a:lnTo>
                <a:lnTo>
                  <a:pt x="668496" y="1108835"/>
                </a:lnTo>
                <a:lnTo>
                  <a:pt x="631516" y="1108835"/>
                </a:lnTo>
                <a:lnTo>
                  <a:pt x="600224" y="1074101"/>
                </a:lnTo>
                <a:lnTo>
                  <a:pt x="611603" y="903099"/>
                </a:lnTo>
                <a:lnTo>
                  <a:pt x="571778" y="868365"/>
                </a:lnTo>
                <a:lnTo>
                  <a:pt x="378341" y="868365"/>
                </a:lnTo>
                <a:lnTo>
                  <a:pt x="341360" y="903099"/>
                </a:lnTo>
                <a:lnTo>
                  <a:pt x="290156" y="868365"/>
                </a:lnTo>
                <a:lnTo>
                  <a:pt x="150767" y="868365"/>
                </a:lnTo>
                <a:lnTo>
                  <a:pt x="99563" y="820271"/>
                </a:lnTo>
                <a:lnTo>
                  <a:pt x="0" y="868365"/>
                </a:lnTo>
                <a:lnTo>
                  <a:pt x="8534" y="780192"/>
                </a:lnTo>
                <a:lnTo>
                  <a:pt x="48360" y="732098"/>
                </a:lnTo>
                <a:lnTo>
                  <a:pt x="99563" y="649270"/>
                </a:lnTo>
                <a:lnTo>
                  <a:pt x="238952" y="649270"/>
                </a:lnTo>
                <a:lnTo>
                  <a:pt x="281622" y="649270"/>
                </a:lnTo>
                <a:lnTo>
                  <a:pt x="332826" y="593160"/>
                </a:lnTo>
                <a:lnTo>
                  <a:pt x="429545" y="649270"/>
                </a:lnTo>
                <a:lnTo>
                  <a:pt x="509195" y="649270"/>
                </a:lnTo>
                <a:lnTo>
                  <a:pt x="611603" y="547738"/>
                </a:lnTo>
                <a:lnTo>
                  <a:pt x="611603" y="499644"/>
                </a:lnTo>
                <a:lnTo>
                  <a:pt x="560399" y="499644"/>
                </a:lnTo>
                <a:lnTo>
                  <a:pt x="560399" y="459565"/>
                </a:lnTo>
                <a:lnTo>
                  <a:pt x="611603" y="416815"/>
                </a:lnTo>
                <a:lnTo>
                  <a:pt x="611603" y="384752"/>
                </a:lnTo>
                <a:lnTo>
                  <a:pt x="611603" y="352690"/>
                </a:lnTo>
                <a:lnTo>
                  <a:pt x="611603" y="283221"/>
                </a:lnTo>
                <a:lnTo>
                  <a:pt x="682720" y="219095"/>
                </a:lnTo>
                <a:lnTo>
                  <a:pt x="682720" y="171001"/>
                </a:lnTo>
                <a:lnTo>
                  <a:pt x="631516" y="130923"/>
                </a:lnTo>
                <a:lnTo>
                  <a:pt x="682720" y="85501"/>
                </a:lnTo>
                <a:lnTo>
                  <a:pt x="719700" y="85501"/>
                </a:lnTo>
                <a:lnTo>
                  <a:pt x="719700" y="48094"/>
                </a:lnTo>
                <a:lnTo>
                  <a:pt x="770904" y="85501"/>
                </a:lnTo>
                <a:lnTo>
                  <a:pt x="822108" y="85501"/>
                </a:lnTo>
                <a:lnTo>
                  <a:pt x="842021" y="85501"/>
                </a:lnTo>
                <a:lnTo>
                  <a:pt x="861933" y="8550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7" name="Espaço Reservado para Texto 190">
            <a:extLst>
              <a:ext uri="{FF2B5EF4-FFF2-40B4-BE49-F238E27FC236}">
                <a16:creationId xmlns:a16="http://schemas.microsoft.com/office/drawing/2014/main" id="{4FD95419-4210-444A-AF9F-36F99973E94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930622" y="3104118"/>
            <a:ext cx="1142262" cy="1062344"/>
          </a:xfrm>
          <a:custGeom>
            <a:avLst/>
            <a:gdLst>
              <a:gd name="connsiteX0" fmla="*/ 460315 w 1142262"/>
              <a:gd name="connsiteY0" fmla="*/ 0 h 1062344"/>
              <a:gd name="connsiteX1" fmla="*/ 568290 w 1142262"/>
              <a:gd name="connsiteY1" fmla="*/ 0 h 1062344"/>
              <a:gd name="connsiteX2" fmla="*/ 610911 w 1142262"/>
              <a:gd name="connsiteY2" fmla="*/ 48046 h 1062344"/>
              <a:gd name="connsiteX3" fmla="*/ 690472 w 1142262"/>
              <a:gd name="connsiteY3" fmla="*/ 48046 h 1062344"/>
              <a:gd name="connsiteX4" fmla="*/ 741618 w 1142262"/>
              <a:gd name="connsiteY4" fmla="*/ 0 h 1062344"/>
              <a:gd name="connsiteX5" fmla="*/ 841069 w 1142262"/>
              <a:gd name="connsiteY5" fmla="*/ 0 h 1062344"/>
              <a:gd name="connsiteX6" fmla="*/ 892215 w 1142262"/>
              <a:gd name="connsiteY6" fmla="*/ 48046 h 1062344"/>
              <a:gd name="connsiteX7" fmla="*/ 960410 w 1142262"/>
              <a:gd name="connsiteY7" fmla="*/ 48046 h 1062344"/>
              <a:gd name="connsiteX8" fmla="*/ 1051336 w 1142262"/>
              <a:gd name="connsiteY8" fmla="*/ 48046 h 1062344"/>
              <a:gd name="connsiteX9" fmla="*/ 1099640 w 1142262"/>
              <a:gd name="connsiteY9" fmla="*/ 48046 h 1062344"/>
              <a:gd name="connsiteX10" fmla="*/ 1099640 w 1142262"/>
              <a:gd name="connsiteY10" fmla="*/ 82746 h 1062344"/>
              <a:gd name="connsiteX11" fmla="*/ 1142262 w 1142262"/>
              <a:gd name="connsiteY11" fmla="*/ 149476 h 1062344"/>
              <a:gd name="connsiteX12" fmla="*/ 1099640 w 1142262"/>
              <a:gd name="connsiteY12" fmla="*/ 149476 h 1062344"/>
              <a:gd name="connsiteX13" fmla="*/ 1099640 w 1142262"/>
              <a:gd name="connsiteY13" fmla="*/ 197521 h 1062344"/>
              <a:gd name="connsiteX14" fmla="*/ 1142262 w 1142262"/>
              <a:gd name="connsiteY14" fmla="*/ 280267 h 1062344"/>
              <a:gd name="connsiteX15" fmla="*/ 1142262 w 1142262"/>
              <a:gd name="connsiteY15" fmla="*/ 368351 h 1062344"/>
              <a:gd name="connsiteX16" fmla="*/ 1099640 w 1142262"/>
              <a:gd name="connsiteY16" fmla="*/ 368351 h 1062344"/>
              <a:gd name="connsiteX17" fmla="*/ 1051336 w 1142262"/>
              <a:gd name="connsiteY17" fmla="*/ 328312 h 1062344"/>
              <a:gd name="connsiteX18" fmla="*/ 1051336 w 1142262"/>
              <a:gd name="connsiteY18" fmla="*/ 368351 h 1062344"/>
              <a:gd name="connsiteX19" fmla="*/ 1003031 w 1142262"/>
              <a:gd name="connsiteY19" fmla="*/ 368351 h 1062344"/>
              <a:gd name="connsiteX20" fmla="*/ 951885 w 1142262"/>
              <a:gd name="connsiteY20" fmla="*/ 413727 h 1062344"/>
              <a:gd name="connsiteX21" fmla="*/ 1003031 w 1142262"/>
              <a:gd name="connsiteY21" fmla="*/ 461773 h 1062344"/>
              <a:gd name="connsiteX22" fmla="*/ 1003031 w 1142262"/>
              <a:gd name="connsiteY22" fmla="*/ 499142 h 1062344"/>
              <a:gd name="connsiteX23" fmla="*/ 931995 w 1142262"/>
              <a:gd name="connsiteY23" fmla="*/ 565872 h 1062344"/>
              <a:gd name="connsiteX24" fmla="*/ 931995 w 1142262"/>
              <a:gd name="connsiteY24" fmla="*/ 635271 h 1062344"/>
              <a:gd name="connsiteX25" fmla="*/ 931995 w 1142262"/>
              <a:gd name="connsiteY25" fmla="*/ 667302 h 1062344"/>
              <a:gd name="connsiteX26" fmla="*/ 931995 w 1142262"/>
              <a:gd name="connsiteY26" fmla="*/ 696663 h 1062344"/>
              <a:gd name="connsiteX27" fmla="*/ 892215 w 1142262"/>
              <a:gd name="connsiteY27" fmla="*/ 742039 h 1062344"/>
              <a:gd name="connsiteX28" fmla="*/ 892215 w 1142262"/>
              <a:gd name="connsiteY28" fmla="*/ 782078 h 1062344"/>
              <a:gd name="connsiteX29" fmla="*/ 931995 w 1142262"/>
              <a:gd name="connsiteY29" fmla="*/ 782078 h 1062344"/>
              <a:gd name="connsiteX30" fmla="*/ 931995 w 1142262"/>
              <a:gd name="connsiteY30" fmla="*/ 827454 h 1062344"/>
              <a:gd name="connsiteX31" fmla="*/ 841069 w 1142262"/>
              <a:gd name="connsiteY31" fmla="*/ 931553 h 1062344"/>
              <a:gd name="connsiteX32" fmla="*/ 750142 w 1142262"/>
              <a:gd name="connsiteY32" fmla="*/ 931553 h 1062344"/>
              <a:gd name="connsiteX33" fmla="*/ 653533 w 1142262"/>
              <a:gd name="connsiteY33" fmla="*/ 872831 h 1062344"/>
              <a:gd name="connsiteX34" fmla="*/ 610911 w 1142262"/>
              <a:gd name="connsiteY34" fmla="*/ 931553 h 1062344"/>
              <a:gd name="connsiteX35" fmla="*/ 420535 w 1142262"/>
              <a:gd name="connsiteY35" fmla="*/ 931553 h 1062344"/>
              <a:gd name="connsiteX36" fmla="*/ 380754 w 1142262"/>
              <a:gd name="connsiteY36" fmla="*/ 1014298 h 1062344"/>
              <a:gd name="connsiteX37" fmla="*/ 329608 w 1142262"/>
              <a:gd name="connsiteY37" fmla="*/ 1062344 h 1062344"/>
              <a:gd name="connsiteX38" fmla="*/ 281304 w 1142262"/>
              <a:gd name="connsiteY38" fmla="*/ 1014298 h 1062344"/>
              <a:gd name="connsiteX39" fmla="*/ 201743 w 1142262"/>
              <a:gd name="connsiteY39" fmla="*/ 979599 h 1062344"/>
              <a:gd name="connsiteX40" fmla="*/ 51146 w 1142262"/>
              <a:gd name="connsiteY40" fmla="*/ 931553 h 1062344"/>
              <a:gd name="connsiteX41" fmla="*/ 0 w 1142262"/>
              <a:gd name="connsiteY41" fmla="*/ 920876 h 1062344"/>
              <a:gd name="connsiteX42" fmla="*/ 51146 w 1142262"/>
              <a:gd name="connsiteY42" fmla="*/ 864823 h 1062344"/>
              <a:gd name="connsiteX43" fmla="*/ 0 w 1142262"/>
              <a:gd name="connsiteY43" fmla="*/ 864823 h 1062344"/>
              <a:gd name="connsiteX44" fmla="*/ 0 w 1142262"/>
              <a:gd name="connsiteY44" fmla="*/ 816777 h 1062344"/>
              <a:gd name="connsiteX45" fmla="*/ 8524 w 1142262"/>
              <a:gd name="connsiteY45" fmla="*/ 742039 h 1062344"/>
              <a:gd name="connsiteX46" fmla="*/ 8524 w 1142262"/>
              <a:gd name="connsiteY46" fmla="*/ 648617 h 1062344"/>
              <a:gd name="connsiteX47" fmla="*/ 99451 w 1142262"/>
              <a:gd name="connsiteY47" fmla="*/ 611248 h 1062344"/>
              <a:gd name="connsiteX48" fmla="*/ 139231 w 1142262"/>
              <a:gd name="connsiteY48" fmla="*/ 499142 h 1062344"/>
              <a:gd name="connsiteX49" fmla="*/ 190377 w 1142262"/>
              <a:gd name="connsiteY49" fmla="*/ 499142 h 1062344"/>
              <a:gd name="connsiteX50" fmla="*/ 230158 w 1142262"/>
              <a:gd name="connsiteY50" fmla="*/ 368351 h 1062344"/>
              <a:gd name="connsiteX51" fmla="*/ 269938 w 1142262"/>
              <a:gd name="connsiteY51" fmla="*/ 368351 h 1062344"/>
              <a:gd name="connsiteX52" fmla="*/ 321084 w 1142262"/>
              <a:gd name="connsiteY52" fmla="*/ 280267 h 1062344"/>
              <a:gd name="connsiteX53" fmla="*/ 369388 w 1142262"/>
              <a:gd name="connsiteY53" fmla="*/ 149476 h 1062344"/>
              <a:gd name="connsiteX54" fmla="*/ 409169 w 1142262"/>
              <a:gd name="connsiteY54" fmla="*/ 48046 h 1062344"/>
              <a:gd name="connsiteX55" fmla="*/ 460315 w 1142262"/>
              <a:gd name="connsiteY55" fmla="*/ 40038 h 1062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142262" h="1062344">
                <a:moveTo>
                  <a:pt x="460315" y="0"/>
                </a:moveTo>
                <a:lnTo>
                  <a:pt x="568290" y="0"/>
                </a:lnTo>
                <a:lnTo>
                  <a:pt x="610911" y="48046"/>
                </a:lnTo>
                <a:lnTo>
                  <a:pt x="690472" y="48046"/>
                </a:lnTo>
                <a:lnTo>
                  <a:pt x="741618" y="0"/>
                </a:lnTo>
                <a:lnTo>
                  <a:pt x="841069" y="0"/>
                </a:lnTo>
                <a:lnTo>
                  <a:pt x="892215" y="48046"/>
                </a:lnTo>
                <a:lnTo>
                  <a:pt x="960410" y="48046"/>
                </a:lnTo>
                <a:lnTo>
                  <a:pt x="1051336" y="48046"/>
                </a:lnTo>
                <a:lnTo>
                  <a:pt x="1099640" y="48046"/>
                </a:lnTo>
                <a:lnTo>
                  <a:pt x="1099640" y="82746"/>
                </a:lnTo>
                <a:lnTo>
                  <a:pt x="1142262" y="149476"/>
                </a:lnTo>
                <a:lnTo>
                  <a:pt x="1099640" y="149476"/>
                </a:lnTo>
                <a:lnTo>
                  <a:pt x="1099640" y="197521"/>
                </a:lnTo>
                <a:lnTo>
                  <a:pt x="1142262" y="280267"/>
                </a:lnTo>
                <a:lnTo>
                  <a:pt x="1142262" y="368351"/>
                </a:lnTo>
                <a:lnTo>
                  <a:pt x="1099640" y="368351"/>
                </a:lnTo>
                <a:lnTo>
                  <a:pt x="1051336" y="328312"/>
                </a:lnTo>
                <a:lnTo>
                  <a:pt x="1051336" y="368351"/>
                </a:lnTo>
                <a:lnTo>
                  <a:pt x="1003031" y="368351"/>
                </a:lnTo>
                <a:lnTo>
                  <a:pt x="951885" y="413727"/>
                </a:lnTo>
                <a:lnTo>
                  <a:pt x="1003031" y="461773"/>
                </a:lnTo>
                <a:lnTo>
                  <a:pt x="1003031" y="499142"/>
                </a:lnTo>
                <a:lnTo>
                  <a:pt x="931995" y="565872"/>
                </a:lnTo>
                <a:lnTo>
                  <a:pt x="931995" y="635271"/>
                </a:lnTo>
                <a:lnTo>
                  <a:pt x="931995" y="667302"/>
                </a:lnTo>
                <a:lnTo>
                  <a:pt x="931995" y="696663"/>
                </a:lnTo>
                <a:lnTo>
                  <a:pt x="892215" y="742039"/>
                </a:lnTo>
                <a:lnTo>
                  <a:pt x="892215" y="782078"/>
                </a:lnTo>
                <a:lnTo>
                  <a:pt x="931995" y="782078"/>
                </a:lnTo>
                <a:lnTo>
                  <a:pt x="931995" y="827454"/>
                </a:lnTo>
                <a:lnTo>
                  <a:pt x="841069" y="931553"/>
                </a:lnTo>
                <a:lnTo>
                  <a:pt x="750142" y="931553"/>
                </a:lnTo>
                <a:lnTo>
                  <a:pt x="653533" y="872831"/>
                </a:lnTo>
                <a:lnTo>
                  <a:pt x="610911" y="931553"/>
                </a:lnTo>
                <a:lnTo>
                  <a:pt x="420535" y="931553"/>
                </a:lnTo>
                <a:lnTo>
                  <a:pt x="380754" y="1014298"/>
                </a:lnTo>
                <a:lnTo>
                  <a:pt x="329608" y="1062344"/>
                </a:lnTo>
                <a:lnTo>
                  <a:pt x="281304" y="1014298"/>
                </a:lnTo>
                <a:lnTo>
                  <a:pt x="201743" y="979599"/>
                </a:lnTo>
                <a:lnTo>
                  <a:pt x="51146" y="931553"/>
                </a:lnTo>
                <a:lnTo>
                  <a:pt x="0" y="920876"/>
                </a:lnTo>
                <a:lnTo>
                  <a:pt x="51146" y="864823"/>
                </a:lnTo>
                <a:lnTo>
                  <a:pt x="0" y="864823"/>
                </a:lnTo>
                <a:lnTo>
                  <a:pt x="0" y="816777"/>
                </a:lnTo>
                <a:lnTo>
                  <a:pt x="8524" y="742039"/>
                </a:lnTo>
                <a:lnTo>
                  <a:pt x="8524" y="648617"/>
                </a:lnTo>
                <a:lnTo>
                  <a:pt x="99451" y="611248"/>
                </a:lnTo>
                <a:lnTo>
                  <a:pt x="139231" y="499142"/>
                </a:lnTo>
                <a:lnTo>
                  <a:pt x="190377" y="499142"/>
                </a:lnTo>
                <a:lnTo>
                  <a:pt x="230158" y="368351"/>
                </a:lnTo>
                <a:lnTo>
                  <a:pt x="269938" y="368351"/>
                </a:lnTo>
                <a:lnTo>
                  <a:pt x="321084" y="280267"/>
                </a:lnTo>
                <a:lnTo>
                  <a:pt x="369388" y="149476"/>
                </a:lnTo>
                <a:lnTo>
                  <a:pt x="409169" y="48046"/>
                </a:lnTo>
                <a:lnTo>
                  <a:pt x="460315" y="400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8" name="Espaço Reservado para Texto 193">
            <a:extLst>
              <a:ext uri="{FF2B5EF4-FFF2-40B4-BE49-F238E27FC236}">
                <a16:creationId xmlns:a16="http://schemas.microsoft.com/office/drawing/2014/main" id="{E48E0847-9C8F-477E-BD82-B3FDE22CAE0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538813" y="3768788"/>
            <a:ext cx="142875" cy="100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49" name="Espaço Reservado para Texto 199">
            <a:extLst>
              <a:ext uri="{FF2B5EF4-FFF2-40B4-BE49-F238E27FC236}">
                <a16:creationId xmlns:a16="http://schemas.microsoft.com/office/drawing/2014/main" id="{161CFC23-E4E0-44E2-BCB3-F3CD0C192D7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661690" y="3978941"/>
            <a:ext cx="387908" cy="527712"/>
          </a:xfrm>
          <a:custGeom>
            <a:avLst/>
            <a:gdLst>
              <a:gd name="connsiteX0" fmla="*/ 293086 w 387908"/>
              <a:gd name="connsiteY0" fmla="*/ 0 h 527712"/>
              <a:gd name="connsiteX1" fmla="*/ 387908 w 387908"/>
              <a:gd name="connsiteY1" fmla="*/ 56254 h 527712"/>
              <a:gd name="connsiteX2" fmla="*/ 344807 w 387908"/>
              <a:gd name="connsiteY2" fmla="*/ 206263 h 527712"/>
              <a:gd name="connsiteX3" fmla="*/ 344807 w 387908"/>
              <a:gd name="connsiteY3" fmla="*/ 294662 h 527712"/>
              <a:gd name="connsiteX4" fmla="*/ 255732 w 387908"/>
              <a:gd name="connsiteY4" fmla="*/ 377703 h 527712"/>
              <a:gd name="connsiteX5" fmla="*/ 255732 w 387908"/>
              <a:gd name="connsiteY5" fmla="*/ 425920 h 527712"/>
              <a:gd name="connsiteX6" fmla="*/ 143670 w 387908"/>
              <a:gd name="connsiteY6" fmla="*/ 527712 h 527712"/>
              <a:gd name="connsiteX7" fmla="*/ 0 w 387908"/>
              <a:gd name="connsiteY7" fmla="*/ 500925 h 527712"/>
              <a:gd name="connsiteX8" fmla="*/ 0 w 387908"/>
              <a:gd name="connsiteY8" fmla="*/ 433956 h 527712"/>
              <a:gd name="connsiteX9" fmla="*/ 8620 w 387908"/>
              <a:gd name="connsiteY9" fmla="*/ 377703 h 527712"/>
              <a:gd name="connsiteX10" fmla="*/ 60341 w 387908"/>
              <a:gd name="connsiteY10" fmla="*/ 329485 h 527712"/>
              <a:gd name="connsiteX11" fmla="*/ 103442 w 387908"/>
              <a:gd name="connsiteY11" fmla="*/ 329485 h 527712"/>
              <a:gd name="connsiteX12" fmla="*/ 143670 w 387908"/>
              <a:gd name="connsiteY12" fmla="*/ 254481 h 527712"/>
              <a:gd name="connsiteX13" fmla="*/ 143670 w 387908"/>
              <a:gd name="connsiteY13" fmla="*/ 8036 h 527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87908" h="527712">
                <a:moveTo>
                  <a:pt x="293086" y="0"/>
                </a:moveTo>
                <a:lnTo>
                  <a:pt x="387908" y="56254"/>
                </a:lnTo>
                <a:lnTo>
                  <a:pt x="344807" y="206263"/>
                </a:lnTo>
                <a:lnTo>
                  <a:pt x="344807" y="294662"/>
                </a:lnTo>
                <a:lnTo>
                  <a:pt x="255732" y="377703"/>
                </a:lnTo>
                <a:lnTo>
                  <a:pt x="255732" y="425920"/>
                </a:lnTo>
                <a:lnTo>
                  <a:pt x="143670" y="527712"/>
                </a:lnTo>
                <a:lnTo>
                  <a:pt x="0" y="500925"/>
                </a:lnTo>
                <a:lnTo>
                  <a:pt x="0" y="433956"/>
                </a:lnTo>
                <a:lnTo>
                  <a:pt x="8620" y="377703"/>
                </a:lnTo>
                <a:lnTo>
                  <a:pt x="60341" y="329485"/>
                </a:lnTo>
                <a:lnTo>
                  <a:pt x="103442" y="329485"/>
                </a:lnTo>
                <a:lnTo>
                  <a:pt x="143670" y="254481"/>
                </a:lnTo>
                <a:lnTo>
                  <a:pt x="143670" y="803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dirty="0" smtClean="0"/>
            </a:lvl2pPr>
            <a:lvl3pPr marL="914400" indent="0">
              <a:buNone/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50" name="Espaço Reservado para Texto 203">
            <a:extLst>
              <a:ext uri="{FF2B5EF4-FFF2-40B4-BE49-F238E27FC236}">
                <a16:creationId xmlns:a16="http://schemas.microsoft.com/office/drawing/2014/main" id="{A45DC01D-707B-474A-9490-05EE39AE3A0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152876" y="4406525"/>
            <a:ext cx="652721" cy="374380"/>
          </a:xfrm>
          <a:custGeom>
            <a:avLst/>
            <a:gdLst>
              <a:gd name="connsiteX0" fmla="*/ 513056 w 652721"/>
              <a:gd name="connsiteY0" fmla="*/ 0 h 374380"/>
              <a:gd name="connsiteX1" fmla="*/ 513056 w 652721"/>
              <a:gd name="connsiteY1" fmla="*/ 56971 h 374380"/>
              <a:gd name="connsiteX2" fmla="*/ 652721 w 652721"/>
              <a:gd name="connsiteY2" fmla="*/ 94952 h 374380"/>
              <a:gd name="connsiteX3" fmla="*/ 604266 w 652721"/>
              <a:gd name="connsiteY3" fmla="*/ 192616 h 374380"/>
              <a:gd name="connsiteX4" fmla="*/ 604266 w 652721"/>
              <a:gd name="connsiteY4" fmla="*/ 238735 h 374380"/>
              <a:gd name="connsiteX5" fmla="*/ 464601 w 652721"/>
              <a:gd name="connsiteY5" fmla="*/ 287567 h 374380"/>
              <a:gd name="connsiteX6" fmla="*/ 464601 w 652721"/>
              <a:gd name="connsiteY6" fmla="*/ 328261 h 374380"/>
              <a:gd name="connsiteX7" fmla="*/ 319235 w 652721"/>
              <a:gd name="connsiteY7" fmla="*/ 374380 h 374380"/>
              <a:gd name="connsiteX8" fmla="*/ 282181 w 652721"/>
              <a:gd name="connsiteY8" fmla="*/ 374380 h 374380"/>
              <a:gd name="connsiteX9" fmla="*/ 282181 w 652721"/>
              <a:gd name="connsiteY9" fmla="*/ 328261 h 374380"/>
              <a:gd name="connsiteX10" fmla="*/ 230875 w 652721"/>
              <a:gd name="connsiteY10" fmla="*/ 328261 h 374380"/>
              <a:gd name="connsiteX11" fmla="*/ 230875 w 652721"/>
              <a:gd name="connsiteY11" fmla="*/ 374380 h 374380"/>
              <a:gd name="connsiteX12" fmla="*/ 179570 w 652721"/>
              <a:gd name="connsiteY12" fmla="*/ 328261 h 374380"/>
              <a:gd name="connsiteX13" fmla="*/ 139665 w 652721"/>
              <a:gd name="connsiteY13" fmla="*/ 374380 h 374380"/>
              <a:gd name="connsiteX14" fmla="*/ 88360 w 652721"/>
              <a:gd name="connsiteY14" fmla="*/ 336400 h 374380"/>
              <a:gd name="connsiteX15" fmla="*/ 51306 w 652721"/>
              <a:gd name="connsiteY15" fmla="*/ 374380 h 374380"/>
              <a:gd name="connsiteX16" fmla="*/ 0 w 652721"/>
              <a:gd name="connsiteY16" fmla="*/ 374380 h 374380"/>
              <a:gd name="connsiteX17" fmla="*/ 59857 w 652721"/>
              <a:gd name="connsiteY17" fmla="*/ 306558 h 374380"/>
              <a:gd name="connsiteX18" fmla="*/ 108312 w 652721"/>
              <a:gd name="connsiteY18" fmla="*/ 306558 h 374380"/>
              <a:gd name="connsiteX19" fmla="*/ 151067 w 652721"/>
              <a:gd name="connsiteY19" fmla="*/ 268577 h 374380"/>
              <a:gd name="connsiteX20" fmla="*/ 59857 w 652721"/>
              <a:gd name="connsiteY20" fmla="*/ 268577 h 374380"/>
              <a:gd name="connsiteX21" fmla="*/ 59857 w 652721"/>
              <a:gd name="connsiteY21" fmla="*/ 219745 h 374380"/>
              <a:gd name="connsiteX22" fmla="*/ 190971 w 652721"/>
              <a:gd name="connsiteY22" fmla="*/ 184477 h 374380"/>
              <a:gd name="connsiteX23" fmla="*/ 290732 w 652721"/>
              <a:gd name="connsiteY23" fmla="*/ 184477 h 374380"/>
              <a:gd name="connsiteX24" fmla="*/ 421846 w 652721"/>
              <a:gd name="connsiteY24" fmla="*/ 135645 h 374380"/>
              <a:gd name="connsiteX25" fmla="*/ 464601 w 652721"/>
              <a:gd name="connsiteY25" fmla="*/ 56971 h 37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52721" h="374380">
                <a:moveTo>
                  <a:pt x="513056" y="0"/>
                </a:moveTo>
                <a:lnTo>
                  <a:pt x="513056" y="56971"/>
                </a:lnTo>
                <a:lnTo>
                  <a:pt x="652721" y="94952"/>
                </a:lnTo>
                <a:lnTo>
                  <a:pt x="604266" y="192616"/>
                </a:lnTo>
                <a:lnTo>
                  <a:pt x="604266" y="238735"/>
                </a:lnTo>
                <a:lnTo>
                  <a:pt x="464601" y="287567"/>
                </a:lnTo>
                <a:lnTo>
                  <a:pt x="464601" y="328261"/>
                </a:lnTo>
                <a:lnTo>
                  <a:pt x="319235" y="374380"/>
                </a:lnTo>
                <a:lnTo>
                  <a:pt x="282181" y="374380"/>
                </a:lnTo>
                <a:lnTo>
                  <a:pt x="282181" y="328261"/>
                </a:lnTo>
                <a:lnTo>
                  <a:pt x="230875" y="328261"/>
                </a:lnTo>
                <a:lnTo>
                  <a:pt x="230875" y="374380"/>
                </a:lnTo>
                <a:lnTo>
                  <a:pt x="179570" y="328261"/>
                </a:lnTo>
                <a:lnTo>
                  <a:pt x="139665" y="374380"/>
                </a:lnTo>
                <a:lnTo>
                  <a:pt x="88360" y="336400"/>
                </a:lnTo>
                <a:lnTo>
                  <a:pt x="51306" y="374380"/>
                </a:lnTo>
                <a:lnTo>
                  <a:pt x="0" y="374380"/>
                </a:lnTo>
                <a:lnTo>
                  <a:pt x="59857" y="306558"/>
                </a:lnTo>
                <a:lnTo>
                  <a:pt x="108312" y="306558"/>
                </a:lnTo>
                <a:lnTo>
                  <a:pt x="151067" y="268577"/>
                </a:lnTo>
                <a:lnTo>
                  <a:pt x="59857" y="268577"/>
                </a:lnTo>
                <a:lnTo>
                  <a:pt x="59857" y="219745"/>
                </a:lnTo>
                <a:lnTo>
                  <a:pt x="190971" y="184477"/>
                </a:lnTo>
                <a:lnTo>
                  <a:pt x="290732" y="184477"/>
                </a:lnTo>
                <a:lnTo>
                  <a:pt x="421846" y="135645"/>
                </a:lnTo>
                <a:lnTo>
                  <a:pt x="464601" y="569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dirty="0" smtClean="0"/>
            </a:lvl2pPr>
            <a:lvl3pPr marL="914400" indent="0">
              <a:buNone/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51" name="Espaço Reservado para Texto 207">
            <a:extLst>
              <a:ext uri="{FF2B5EF4-FFF2-40B4-BE49-F238E27FC236}">
                <a16:creationId xmlns:a16="http://schemas.microsoft.com/office/drawing/2014/main" id="{CF8E5208-4BD7-4EF0-BDA0-F947D594F91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946620" y="4216098"/>
            <a:ext cx="1356636" cy="825556"/>
          </a:xfrm>
          <a:custGeom>
            <a:avLst/>
            <a:gdLst>
              <a:gd name="connsiteX0" fmla="*/ 407841 w 1356636"/>
              <a:gd name="connsiteY0" fmla="*/ 0 h 825556"/>
              <a:gd name="connsiteX1" fmla="*/ 458821 w 1356636"/>
              <a:gd name="connsiteY1" fmla="*/ 48247 h 825556"/>
              <a:gd name="connsiteX2" fmla="*/ 549452 w 1356636"/>
              <a:gd name="connsiteY2" fmla="*/ 48247 h 825556"/>
              <a:gd name="connsiteX3" fmla="*/ 597600 w 1356636"/>
              <a:gd name="connsiteY3" fmla="*/ 48247 h 825556"/>
              <a:gd name="connsiteX4" fmla="*/ 648580 w 1356636"/>
              <a:gd name="connsiteY4" fmla="*/ 83092 h 825556"/>
              <a:gd name="connsiteX5" fmla="*/ 688231 w 1356636"/>
              <a:gd name="connsiteY5" fmla="*/ 48247 h 825556"/>
              <a:gd name="connsiteX6" fmla="*/ 778862 w 1356636"/>
              <a:gd name="connsiteY6" fmla="*/ 48247 h 825556"/>
              <a:gd name="connsiteX7" fmla="*/ 827010 w 1356636"/>
              <a:gd name="connsiteY7" fmla="*/ 48247 h 825556"/>
              <a:gd name="connsiteX8" fmla="*/ 877990 w 1356636"/>
              <a:gd name="connsiteY8" fmla="*/ 48247 h 825556"/>
              <a:gd name="connsiteX9" fmla="*/ 917641 w 1356636"/>
              <a:gd name="connsiteY9" fmla="*/ 83092 h 825556"/>
              <a:gd name="connsiteX10" fmla="*/ 917641 w 1356636"/>
              <a:gd name="connsiteY10" fmla="*/ 254636 h 825556"/>
              <a:gd name="connsiteX11" fmla="*/ 937467 w 1356636"/>
              <a:gd name="connsiteY11" fmla="*/ 289481 h 825556"/>
              <a:gd name="connsiteX12" fmla="*/ 977118 w 1356636"/>
              <a:gd name="connsiteY12" fmla="*/ 289481 h 825556"/>
              <a:gd name="connsiteX13" fmla="*/ 937467 w 1356636"/>
              <a:gd name="connsiteY13" fmla="*/ 377933 h 825556"/>
              <a:gd name="connsiteX14" fmla="*/ 1028098 w 1356636"/>
              <a:gd name="connsiteY14" fmla="*/ 461025 h 825556"/>
              <a:gd name="connsiteX15" fmla="*/ 1028098 w 1356636"/>
              <a:gd name="connsiteY15" fmla="*/ 509272 h 825556"/>
              <a:gd name="connsiteX16" fmla="*/ 1076246 w 1356636"/>
              <a:gd name="connsiteY16" fmla="*/ 509272 h 825556"/>
              <a:gd name="connsiteX17" fmla="*/ 1127226 w 1356636"/>
              <a:gd name="connsiteY17" fmla="*/ 461025 h 825556"/>
              <a:gd name="connsiteX18" fmla="*/ 1217857 w 1356636"/>
              <a:gd name="connsiteY18" fmla="*/ 461025 h 825556"/>
              <a:gd name="connsiteX19" fmla="*/ 1268837 w 1356636"/>
              <a:gd name="connsiteY19" fmla="*/ 412778 h 825556"/>
              <a:gd name="connsiteX20" fmla="*/ 1268837 w 1356636"/>
              <a:gd name="connsiteY20" fmla="*/ 461025 h 825556"/>
              <a:gd name="connsiteX21" fmla="*/ 1356636 w 1356636"/>
              <a:gd name="connsiteY21" fmla="*/ 461025 h 825556"/>
              <a:gd name="connsiteX22" fmla="*/ 1305656 w 1356636"/>
              <a:gd name="connsiteY22" fmla="*/ 495870 h 825556"/>
              <a:gd name="connsiteX23" fmla="*/ 1268837 w 1356636"/>
              <a:gd name="connsiteY23" fmla="*/ 495870 h 825556"/>
              <a:gd name="connsiteX24" fmla="*/ 1127226 w 1356636"/>
              <a:gd name="connsiteY24" fmla="*/ 656692 h 825556"/>
              <a:gd name="connsiteX25" fmla="*/ 1087575 w 1356636"/>
              <a:gd name="connsiteY25" fmla="*/ 656692 h 825556"/>
              <a:gd name="connsiteX26" fmla="*/ 937467 w 1356636"/>
              <a:gd name="connsiteY26" fmla="*/ 694218 h 825556"/>
              <a:gd name="connsiteX27" fmla="*/ 778862 w 1356636"/>
              <a:gd name="connsiteY27" fmla="*/ 825556 h 825556"/>
              <a:gd name="connsiteX28" fmla="*/ 727882 w 1356636"/>
              <a:gd name="connsiteY28" fmla="*/ 779990 h 825556"/>
              <a:gd name="connsiteX29" fmla="*/ 688231 w 1356636"/>
              <a:gd name="connsiteY29" fmla="*/ 825556 h 825556"/>
              <a:gd name="connsiteX30" fmla="*/ 688231 w 1356636"/>
              <a:gd name="connsiteY30" fmla="*/ 779990 h 825556"/>
              <a:gd name="connsiteX31" fmla="*/ 597600 w 1356636"/>
              <a:gd name="connsiteY31" fmla="*/ 731743 h 825556"/>
              <a:gd name="connsiteX32" fmla="*/ 549452 w 1356636"/>
              <a:gd name="connsiteY32" fmla="*/ 731743 h 825556"/>
              <a:gd name="connsiteX33" fmla="*/ 597600 w 1356636"/>
              <a:gd name="connsiteY33" fmla="*/ 694218 h 825556"/>
              <a:gd name="connsiteX34" fmla="*/ 557949 w 1356636"/>
              <a:gd name="connsiteY34" fmla="*/ 656692 h 825556"/>
              <a:gd name="connsiteX35" fmla="*/ 498472 w 1356636"/>
              <a:gd name="connsiteY35" fmla="*/ 544117 h 825556"/>
              <a:gd name="connsiteX36" fmla="*/ 458821 w 1356636"/>
              <a:gd name="connsiteY36" fmla="*/ 495870 h 825556"/>
              <a:gd name="connsiteX37" fmla="*/ 371022 w 1356636"/>
              <a:gd name="connsiteY37" fmla="*/ 495870 h 825556"/>
              <a:gd name="connsiteX38" fmla="*/ 269062 w 1356636"/>
              <a:gd name="connsiteY38" fmla="*/ 461025 h 825556"/>
              <a:gd name="connsiteX39" fmla="*/ 130283 w 1356636"/>
              <a:gd name="connsiteY39" fmla="*/ 461025 h 825556"/>
              <a:gd name="connsiteX40" fmla="*/ 50980 w 1356636"/>
              <a:gd name="connsiteY40" fmla="*/ 412778 h 825556"/>
              <a:gd name="connsiteX41" fmla="*/ 0 w 1356636"/>
              <a:gd name="connsiteY41" fmla="*/ 412778 h 825556"/>
              <a:gd name="connsiteX42" fmla="*/ 79303 w 1356636"/>
              <a:gd name="connsiteY42" fmla="*/ 364531 h 825556"/>
              <a:gd name="connsiteX43" fmla="*/ 130283 w 1356636"/>
              <a:gd name="connsiteY43" fmla="*/ 281440 h 825556"/>
              <a:gd name="connsiteX44" fmla="*/ 181263 w 1356636"/>
              <a:gd name="connsiteY44" fmla="*/ 233193 h 825556"/>
              <a:gd name="connsiteX45" fmla="*/ 181263 w 1356636"/>
              <a:gd name="connsiteY45" fmla="*/ 168864 h 825556"/>
              <a:gd name="connsiteX46" fmla="*/ 311545 w 1356636"/>
              <a:gd name="connsiteY46" fmla="*/ 48247 h 82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356636" h="825556">
                <a:moveTo>
                  <a:pt x="407841" y="0"/>
                </a:moveTo>
                <a:lnTo>
                  <a:pt x="458821" y="48247"/>
                </a:lnTo>
                <a:lnTo>
                  <a:pt x="549452" y="48247"/>
                </a:lnTo>
                <a:lnTo>
                  <a:pt x="597600" y="48247"/>
                </a:lnTo>
                <a:lnTo>
                  <a:pt x="648580" y="83092"/>
                </a:lnTo>
                <a:lnTo>
                  <a:pt x="688231" y="48247"/>
                </a:lnTo>
                <a:lnTo>
                  <a:pt x="778862" y="48247"/>
                </a:lnTo>
                <a:lnTo>
                  <a:pt x="827010" y="48247"/>
                </a:lnTo>
                <a:lnTo>
                  <a:pt x="877990" y="48247"/>
                </a:lnTo>
                <a:lnTo>
                  <a:pt x="917641" y="83092"/>
                </a:lnTo>
                <a:lnTo>
                  <a:pt x="917641" y="254636"/>
                </a:lnTo>
                <a:lnTo>
                  <a:pt x="937467" y="289481"/>
                </a:lnTo>
                <a:lnTo>
                  <a:pt x="977118" y="289481"/>
                </a:lnTo>
                <a:lnTo>
                  <a:pt x="937467" y="377933"/>
                </a:lnTo>
                <a:lnTo>
                  <a:pt x="1028098" y="461025"/>
                </a:lnTo>
                <a:lnTo>
                  <a:pt x="1028098" y="509272"/>
                </a:lnTo>
                <a:lnTo>
                  <a:pt x="1076246" y="509272"/>
                </a:lnTo>
                <a:lnTo>
                  <a:pt x="1127226" y="461025"/>
                </a:lnTo>
                <a:lnTo>
                  <a:pt x="1217857" y="461025"/>
                </a:lnTo>
                <a:lnTo>
                  <a:pt x="1268837" y="412778"/>
                </a:lnTo>
                <a:lnTo>
                  <a:pt x="1268837" y="461025"/>
                </a:lnTo>
                <a:lnTo>
                  <a:pt x="1356636" y="461025"/>
                </a:lnTo>
                <a:lnTo>
                  <a:pt x="1305656" y="495870"/>
                </a:lnTo>
                <a:lnTo>
                  <a:pt x="1268837" y="495870"/>
                </a:lnTo>
                <a:lnTo>
                  <a:pt x="1127226" y="656692"/>
                </a:lnTo>
                <a:lnTo>
                  <a:pt x="1087575" y="656692"/>
                </a:lnTo>
                <a:lnTo>
                  <a:pt x="937467" y="694218"/>
                </a:lnTo>
                <a:lnTo>
                  <a:pt x="778862" y="825556"/>
                </a:lnTo>
                <a:lnTo>
                  <a:pt x="727882" y="779990"/>
                </a:lnTo>
                <a:lnTo>
                  <a:pt x="688231" y="825556"/>
                </a:lnTo>
                <a:lnTo>
                  <a:pt x="688231" y="779990"/>
                </a:lnTo>
                <a:lnTo>
                  <a:pt x="597600" y="731743"/>
                </a:lnTo>
                <a:lnTo>
                  <a:pt x="549452" y="731743"/>
                </a:lnTo>
                <a:lnTo>
                  <a:pt x="597600" y="694218"/>
                </a:lnTo>
                <a:lnTo>
                  <a:pt x="557949" y="656692"/>
                </a:lnTo>
                <a:lnTo>
                  <a:pt x="498472" y="544117"/>
                </a:lnTo>
                <a:lnTo>
                  <a:pt x="458821" y="495870"/>
                </a:lnTo>
                <a:lnTo>
                  <a:pt x="371022" y="495870"/>
                </a:lnTo>
                <a:lnTo>
                  <a:pt x="269062" y="461025"/>
                </a:lnTo>
                <a:lnTo>
                  <a:pt x="130283" y="461025"/>
                </a:lnTo>
                <a:lnTo>
                  <a:pt x="50980" y="412778"/>
                </a:lnTo>
                <a:lnTo>
                  <a:pt x="0" y="412778"/>
                </a:lnTo>
                <a:lnTo>
                  <a:pt x="79303" y="364531"/>
                </a:lnTo>
                <a:lnTo>
                  <a:pt x="130283" y="281440"/>
                </a:lnTo>
                <a:lnTo>
                  <a:pt x="181263" y="233193"/>
                </a:lnTo>
                <a:lnTo>
                  <a:pt x="181263" y="168864"/>
                </a:lnTo>
                <a:lnTo>
                  <a:pt x="311545" y="4824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dirty="0" smtClean="0"/>
            </a:lvl2pPr>
            <a:lvl3pPr marL="914400" indent="0">
              <a:buNone/>
              <a:defRPr lang="pt-BR" dirty="0" smtClean="0"/>
            </a:lvl3pPr>
            <a:lvl4pPr marL="1371600" indent="0">
              <a:buNone/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52" name="Espaço Reservado para Texto 215">
            <a:extLst>
              <a:ext uri="{FF2B5EF4-FFF2-40B4-BE49-F238E27FC236}">
                <a16:creationId xmlns:a16="http://schemas.microsoft.com/office/drawing/2014/main" id="{95F6BFD6-374F-4D1D-B395-27C49E0E10AB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8162716" y="3800120"/>
            <a:ext cx="1087869" cy="1094342"/>
          </a:xfrm>
          <a:custGeom>
            <a:avLst/>
            <a:gdLst>
              <a:gd name="connsiteX0" fmla="*/ 261316 w 1087869"/>
              <a:gd name="connsiteY0" fmla="*/ 0 h 1094342"/>
              <a:gd name="connsiteX1" fmla="*/ 488547 w 1087869"/>
              <a:gd name="connsiteY1" fmla="*/ 74736 h 1094342"/>
              <a:gd name="connsiteX2" fmla="*/ 528313 w 1087869"/>
              <a:gd name="connsiteY2" fmla="*/ 34699 h 1094342"/>
              <a:gd name="connsiteX3" fmla="*/ 576599 w 1087869"/>
              <a:gd name="connsiteY3" fmla="*/ 34699 h 1094342"/>
              <a:gd name="connsiteX4" fmla="*/ 627726 w 1087869"/>
              <a:gd name="connsiteY4" fmla="*/ 34699 h 1094342"/>
              <a:gd name="connsiteX5" fmla="*/ 670332 w 1087869"/>
              <a:gd name="connsiteY5" fmla="*/ 34699 h 1094342"/>
              <a:gd name="connsiteX6" fmla="*/ 670332 w 1087869"/>
              <a:gd name="connsiteY6" fmla="*/ 74736 h 1094342"/>
              <a:gd name="connsiteX7" fmla="*/ 766905 w 1087869"/>
              <a:gd name="connsiteY7" fmla="*/ 120111 h 1094342"/>
              <a:gd name="connsiteX8" fmla="*/ 766905 w 1087869"/>
              <a:gd name="connsiteY8" fmla="*/ 168155 h 1094342"/>
              <a:gd name="connsiteX9" fmla="*/ 818032 w 1087869"/>
              <a:gd name="connsiteY9" fmla="*/ 168155 h 1094342"/>
              <a:gd name="connsiteX10" fmla="*/ 766905 w 1087869"/>
              <a:gd name="connsiteY10" fmla="*/ 224207 h 1094342"/>
              <a:gd name="connsiteX11" fmla="*/ 818032 w 1087869"/>
              <a:gd name="connsiteY11" fmla="*/ 224207 h 1094342"/>
              <a:gd name="connsiteX12" fmla="*/ 948690 w 1087869"/>
              <a:gd name="connsiteY12" fmla="*/ 272251 h 1094342"/>
              <a:gd name="connsiteX13" fmla="*/ 1036742 w 1087869"/>
              <a:gd name="connsiteY13" fmla="*/ 314957 h 1094342"/>
              <a:gd name="connsiteX14" fmla="*/ 1087869 w 1087869"/>
              <a:gd name="connsiteY14" fmla="*/ 363001 h 1094342"/>
              <a:gd name="connsiteX15" fmla="*/ 1087869 w 1087869"/>
              <a:gd name="connsiteY15" fmla="*/ 451083 h 1094342"/>
              <a:gd name="connsiteX16" fmla="*/ 957211 w 1087869"/>
              <a:gd name="connsiteY16" fmla="*/ 568524 h 1094342"/>
              <a:gd name="connsiteX17" fmla="*/ 957211 w 1087869"/>
              <a:gd name="connsiteY17" fmla="*/ 635252 h 1094342"/>
              <a:gd name="connsiteX18" fmla="*/ 906084 w 1087869"/>
              <a:gd name="connsiteY18" fmla="*/ 683297 h 1094342"/>
              <a:gd name="connsiteX19" fmla="*/ 857798 w 1087869"/>
              <a:gd name="connsiteY19" fmla="*/ 766040 h 1094342"/>
              <a:gd name="connsiteX20" fmla="*/ 778267 w 1087869"/>
              <a:gd name="connsiteY20" fmla="*/ 814084 h 1094342"/>
              <a:gd name="connsiteX21" fmla="*/ 698736 w 1087869"/>
              <a:gd name="connsiteY21" fmla="*/ 888819 h 1094342"/>
              <a:gd name="connsiteX22" fmla="*/ 636247 w 1087869"/>
              <a:gd name="connsiteY22" fmla="*/ 944871 h 1094342"/>
              <a:gd name="connsiteX23" fmla="*/ 636247 w 1087869"/>
              <a:gd name="connsiteY23" fmla="*/ 1059644 h 1094342"/>
              <a:gd name="connsiteX24" fmla="*/ 528313 w 1087869"/>
              <a:gd name="connsiteY24" fmla="*/ 1059644 h 1094342"/>
              <a:gd name="connsiteX25" fmla="*/ 437420 w 1087869"/>
              <a:gd name="connsiteY25" fmla="*/ 1094342 h 1094342"/>
              <a:gd name="connsiteX26" fmla="*/ 400495 w 1087869"/>
              <a:gd name="connsiteY26" fmla="*/ 1059644 h 1094342"/>
              <a:gd name="connsiteX27" fmla="*/ 400495 w 1087869"/>
              <a:gd name="connsiteY27" fmla="*/ 944871 h 1094342"/>
              <a:gd name="connsiteX28" fmla="*/ 349368 w 1087869"/>
              <a:gd name="connsiteY28" fmla="*/ 910172 h 1094342"/>
              <a:gd name="connsiteX29" fmla="*/ 349368 w 1087869"/>
              <a:gd name="connsiteY29" fmla="*/ 814084 h 1094342"/>
              <a:gd name="connsiteX30" fmla="*/ 306762 w 1087869"/>
              <a:gd name="connsiteY30" fmla="*/ 814084 h 1094342"/>
              <a:gd name="connsiteX31" fmla="*/ 261316 w 1087869"/>
              <a:gd name="connsiteY31" fmla="*/ 766040 h 1094342"/>
              <a:gd name="connsiteX32" fmla="*/ 210189 w 1087869"/>
              <a:gd name="connsiteY32" fmla="*/ 814084 h 1094342"/>
              <a:gd name="connsiteX33" fmla="*/ 119296 w 1087869"/>
              <a:gd name="connsiteY33" fmla="*/ 814084 h 1094342"/>
              <a:gd name="connsiteX34" fmla="*/ 51127 w 1087869"/>
              <a:gd name="connsiteY34" fmla="*/ 766040 h 1094342"/>
              <a:gd name="connsiteX35" fmla="*/ 0 w 1087869"/>
              <a:gd name="connsiteY35" fmla="*/ 766040 h 1094342"/>
              <a:gd name="connsiteX36" fmla="*/ 51127 w 1087869"/>
              <a:gd name="connsiteY36" fmla="*/ 581870 h 1094342"/>
              <a:gd name="connsiteX37" fmla="*/ 0 w 1087869"/>
              <a:gd name="connsiteY37" fmla="*/ 533826 h 1094342"/>
              <a:gd name="connsiteX38" fmla="*/ 0 w 1087869"/>
              <a:gd name="connsiteY38" fmla="*/ 451083 h 1094342"/>
              <a:gd name="connsiteX39" fmla="*/ 0 w 1087869"/>
              <a:gd name="connsiteY39" fmla="*/ 363001 h 1094342"/>
              <a:gd name="connsiteX40" fmla="*/ 51127 w 1087869"/>
              <a:gd name="connsiteY40" fmla="*/ 168155 h 1094342"/>
              <a:gd name="connsiteX41" fmla="*/ 88052 w 1087869"/>
              <a:gd name="connsiteY41" fmla="*/ 120111 h 1094342"/>
              <a:gd name="connsiteX42" fmla="*/ 119296 w 1087869"/>
              <a:gd name="connsiteY42" fmla="*/ 74736 h 1094342"/>
              <a:gd name="connsiteX43" fmla="*/ 167583 w 1087869"/>
              <a:gd name="connsiteY43" fmla="*/ 34699 h 1094342"/>
              <a:gd name="connsiteX44" fmla="*/ 261316 w 1087869"/>
              <a:gd name="connsiteY44" fmla="*/ 34699 h 1094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087869" h="1094342">
                <a:moveTo>
                  <a:pt x="261316" y="0"/>
                </a:moveTo>
                <a:lnTo>
                  <a:pt x="488547" y="74736"/>
                </a:lnTo>
                <a:lnTo>
                  <a:pt x="528313" y="34699"/>
                </a:lnTo>
                <a:lnTo>
                  <a:pt x="576599" y="34699"/>
                </a:lnTo>
                <a:lnTo>
                  <a:pt x="627726" y="34699"/>
                </a:lnTo>
                <a:lnTo>
                  <a:pt x="670332" y="34699"/>
                </a:lnTo>
                <a:lnTo>
                  <a:pt x="670332" y="74736"/>
                </a:lnTo>
                <a:lnTo>
                  <a:pt x="766905" y="120111"/>
                </a:lnTo>
                <a:lnTo>
                  <a:pt x="766905" y="168155"/>
                </a:lnTo>
                <a:lnTo>
                  <a:pt x="818032" y="168155"/>
                </a:lnTo>
                <a:lnTo>
                  <a:pt x="766905" y="224207"/>
                </a:lnTo>
                <a:lnTo>
                  <a:pt x="818032" y="224207"/>
                </a:lnTo>
                <a:lnTo>
                  <a:pt x="948690" y="272251"/>
                </a:lnTo>
                <a:lnTo>
                  <a:pt x="1036742" y="314957"/>
                </a:lnTo>
                <a:lnTo>
                  <a:pt x="1087869" y="363001"/>
                </a:lnTo>
                <a:lnTo>
                  <a:pt x="1087869" y="451083"/>
                </a:lnTo>
                <a:lnTo>
                  <a:pt x="957211" y="568524"/>
                </a:lnTo>
                <a:lnTo>
                  <a:pt x="957211" y="635252"/>
                </a:lnTo>
                <a:lnTo>
                  <a:pt x="906084" y="683297"/>
                </a:lnTo>
                <a:lnTo>
                  <a:pt x="857798" y="766040"/>
                </a:lnTo>
                <a:lnTo>
                  <a:pt x="778267" y="814084"/>
                </a:lnTo>
                <a:lnTo>
                  <a:pt x="698736" y="888819"/>
                </a:lnTo>
                <a:lnTo>
                  <a:pt x="636247" y="944871"/>
                </a:lnTo>
                <a:lnTo>
                  <a:pt x="636247" y="1059644"/>
                </a:lnTo>
                <a:lnTo>
                  <a:pt x="528313" y="1059644"/>
                </a:lnTo>
                <a:lnTo>
                  <a:pt x="437420" y="1094342"/>
                </a:lnTo>
                <a:lnTo>
                  <a:pt x="400495" y="1059644"/>
                </a:lnTo>
                <a:lnTo>
                  <a:pt x="400495" y="944871"/>
                </a:lnTo>
                <a:lnTo>
                  <a:pt x="349368" y="910172"/>
                </a:lnTo>
                <a:lnTo>
                  <a:pt x="349368" y="814084"/>
                </a:lnTo>
                <a:lnTo>
                  <a:pt x="306762" y="814084"/>
                </a:lnTo>
                <a:lnTo>
                  <a:pt x="261316" y="766040"/>
                </a:lnTo>
                <a:lnTo>
                  <a:pt x="210189" y="814084"/>
                </a:lnTo>
                <a:lnTo>
                  <a:pt x="119296" y="814084"/>
                </a:lnTo>
                <a:lnTo>
                  <a:pt x="51127" y="766040"/>
                </a:lnTo>
                <a:lnTo>
                  <a:pt x="0" y="766040"/>
                </a:lnTo>
                <a:lnTo>
                  <a:pt x="51127" y="581870"/>
                </a:lnTo>
                <a:lnTo>
                  <a:pt x="0" y="533826"/>
                </a:lnTo>
                <a:lnTo>
                  <a:pt x="0" y="451083"/>
                </a:lnTo>
                <a:lnTo>
                  <a:pt x="0" y="363001"/>
                </a:lnTo>
                <a:lnTo>
                  <a:pt x="51127" y="168155"/>
                </a:lnTo>
                <a:lnTo>
                  <a:pt x="88052" y="120111"/>
                </a:lnTo>
                <a:lnTo>
                  <a:pt x="119296" y="74736"/>
                </a:lnTo>
                <a:lnTo>
                  <a:pt x="167583" y="34699"/>
                </a:lnTo>
                <a:lnTo>
                  <a:pt x="261316" y="346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smtClean="0"/>
            </a:lvl2pPr>
            <a:lvl3pPr>
              <a:defRPr lang="pt-BR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53" name="Espaço Reservado para Texto 219">
            <a:extLst>
              <a:ext uri="{FF2B5EF4-FFF2-40B4-BE49-F238E27FC236}">
                <a16:creationId xmlns:a16="http://schemas.microsoft.com/office/drawing/2014/main" id="{91FDAEF4-070D-4562-BC58-0137F716330E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8714232" y="4612195"/>
            <a:ext cx="968452" cy="662278"/>
          </a:xfrm>
          <a:custGeom>
            <a:avLst/>
            <a:gdLst>
              <a:gd name="connsiteX0" fmla="*/ 229370 w 968452"/>
              <a:gd name="connsiteY0" fmla="*/ 0 h 662278"/>
              <a:gd name="connsiteX1" fmla="*/ 280342 w 968452"/>
              <a:gd name="connsiteY1" fmla="*/ 0 h 662278"/>
              <a:gd name="connsiteX2" fmla="*/ 368125 w 968452"/>
              <a:gd name="connsiteY2" fmla="*/ 48460 h 662278"/>
              <a:gd name="connsiteX3" fmla="*/ 419096 w 968452"/>
              <a:gd name="connsiteY3" fmla="*/ 48460 h 662278"/>
              <a:gd name="connsiteX4" fmla="*/ 506880 w 968452"/>
              <a:gd name="connsiteY4" fmla="*/ 48460 h 662278"/>
              <a:gd name="connsiteX5" fmla="*/ 600327 w 968452"/>
              <a:gd name="connsiteY5" fmla="*/ 96919 h 662278"/>
              <a:gd name="connsiteX6" fmla="*/ 699438 w 968452"/>
              <a:gd name="connsiteY6" fmla="*/ 96919 h 662278"/>
              <a:gd name="connsiteX7" fmla="*/ 739082 w 968452"/>
              <a:gd name="connsiteY7" fmla="*/ 131917 h 662278"/>
              <a:gd name="connsiteX8" fmla="*/ 787221 w 968452"/>
              <a:gd name="connsiteY8" fmla="*/ 247681 h 662278"/>
              <a:gd name="connsiteX9" fmla="*/ 829697 w 968452"/>
              <a:gd name="connsiteY9" fmla="*/ 282680 h 662278"/>
              <a:gd name="connsiteX10" fmla="*/ 778726 w 968452"/>
              <a:gd name="connsiteY10" fmla="*/ 331139 h 662278"/>
              <a:gd name="connsiteX11" fmla="*/ 829697 w 968452"/>
              <a:gd name="connsiteY11" fmla="*/ 323063 h 662278"/>
              <a:gd name="connsiteX12" fmla="*/ 917481 w 968452"/>
              <a:gd name="connsiteY12" fmla="*/ 368830 h 662278"/>
              <a:gd name="connsiteX13" fmla="*/ 917481 w 968452"/>
              <a:gd name="connsiteY13" fmla="*/ 414597 h 662278"/>
              <a:gd name="connsiteX14" fmla="*/ 968452 w 968452"/>
              <a:gd name="connsiteY14" fmla="*/ 368830 h 662278"/>
              <a:gd name="connsiteX15" fmla="*/ 968452 w 968452"/>
              <a:gd name="connsiteY15" fmla="*/ 463056 h 662278"/>
              <a:gd name="connsiteX16" fmla="*/ 889164 w 968452"/>
              <a:gd name="connsiteY16" fmla="*/ 463056 h 662278"/>
              <a:gd name="connsiteX17" fmla="*/ 925976 w 968452"/>
              <a:gd name="connsiteY17" fmla="*/ 503439 h 662278"/>
              <a:gd name="connsiteX18" fmla="*/ 917481 w 968452"/>
              <a:gd name="connsiteY18" fmla="*/ 551899 h 662278"/>
              <a:gd name="connsiteX19" fmla="*/ 838193 w 968452"/>
              <a:gd name="connsiteY19" fmla="*/ 551899 h 662278"/>
              <a:gd name="connsiteX20" fmla="*/ 739082 w 968452"/>
              <a:gd name="connsiteY20" fmla="*/ 613819 h 662278"/>
              <a:gd name="connsiteX21" fmla="*/ 739082 w 968452"/>
              <a:gd name="connsiteY21" fmla="*/ 551899 h 662278"/>
              <a:gd name="connsiteX22" fmla="*/ 699438 w 968452"/>
              <a:gd name="connsiteY22" fmla="*/ 551899 h 662278"/>
              <a:gd name="connsiteX23" fmla="*/ 648467 w 968452"/>
              <a:gd name="connsiteY23" fmla="*/ 551899 h 662278"/>
              <a:gd name="connsiteX24" fmla="*/ 600327 w 968452"/>
              <a:gd name="connsiteY24" fmla="*/ 551899 h 662278"/>
              <a:gd name="connsiteX25" fmla="*/ 557851 w 968452"/>
              <a:gd name="connsiteY25" fmla="*/ 613819 h 662278"/>
              <a:gd name="connsiteX26" fmla="*/ 506880 w 968452"/>
              <a:gd name="connsiteY26" fmla="*/ 613819 h 662278"/>
              <a:gd name="connsiteX27" fmla="*/ 506880 w 968452"/>
              <a:gd name="connsiteY27" fmla="*/ 662278 h 662278"/>
              <a:gd name="connsiteX28" fmla="*/ 461572 w 968452"/>
              <a:gd name="connsiteY28" fmla="*/ 662278 h 662278"/>
              <a:gd name="connsiteX29" fmla="*/ 368125 w 968452"/>
              <a:gd name="connsiteY29" fmla="*/ 613819 h 662278"/>
              <a:gd name="connsiteX30" fmla="*/ 280342 w 968452"/>
              <a:gd name="connsiteY30" fmla="*/ 613819 h 662278"/>
              <a:gd name="connsiteX31" fmla="*/ 189726 w 968452"/>
              <a:gd name="connsiteY31" fmla="*/ 613819 h 662278"/>
              <a:gd name="connsiteX32" fmla="*/ 138755 w 968452"/>
              <a:gd name="connsiteY32" fmla="*/ 613819 h 662278"/>
              <a:gd name="connsiteX33" fmla="*/ 87784 w 968452"/>
              <a:gd name="connsiteY33" fmla="*/ 503439 h 662278"/>
              <a:gd name="connsiteX34" fmla="*/ 0 w 968452"/>
              <a:gd name="connsiteY34" fmla="*/ 503439 h 662278"/>
              <a:gd name="connsiteX35" fmla="*/ 0 w 968452"/>
              <a:gd name="connsiteY35" fmla="*/ 368830 h 662278"/>
              <a:gd name="connsiteX36" fmla="*/ 50971 w 968452"/>
              <a:gd name="connsiteY36" fmla="*/ 331139 h 662278"/>
              <a:gd name="connsiteX37" fmla="*/ 50971 w 968452"/>
              <a:gd name="connsiteY37" fmla="*/ 247681 h 662278"/>
              <a:gd name="connsiteX38" fmla="*/ 87784 w 968452"/>
              <a:gd name="connsiteY38" fmla="*/ 247681 h 662278"/>
              <a:gd name="connsiteX39" fmla="*/ 87784 w 968452"/>
              <a:gd name="connsiteY39" fmla="*/ 131917 h 662278"/>
              <a:gd name="connsiteX40" fmla="*/ 138755 w 968452"/>
              <a:gd name="connsiteY40" fmla="*/ 96919 h 66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68452" h="662278">
                <a:moveTo>
                  <a:pt x="229370" y="0"/>
                </a:moveTo>
                <a:lnTo>
                  <a:pt x="280342" y="0"/>
                </a:lnTo>
                <a:lnTo>
                  <a:pt x="368125" y="48460"/>
                </a:lnTo>
                <a:lnTo>
                  <a:pt x="419096" y="48460"/>
                </a:lnTo>
                <a:lnTo>
                  <a:pt x="506880" y="48460"/>
                </a:lnTo>
                <a:lnTo>
                  <a:pt x="600327" y="96919"/>
                </a:lnTo>
                <a:lnTo>
                  <a:pt x="699438" y="96919"/>
                </a:lnTo>
                <a:lnTo>
                  <a:pt x="739082" y="131917"/>
                </a:lnTo>
                <a:lnTo>
                  <a:pt x="787221" y="247681"/>
                </a:lnTo>
                <a:lnTo>
                  <a:pt x="829697" y="282680"/>
                </a:lnTo>
                <a:lnTo>
                  <a:pt x="778726" y="331139"/>
                </a:lnTo>
                <a:lnTo>
                  <a:pt x="829697" y="323063"/>
                </a:lnTo>
                <a:lnTo>
                  <a:pt x="917481" y="368830"/>
                </a:lnTo>
                <a:lnTo>
                  <a:pt x="917481" y="414597"/>
                </a:lnTo>
                <a:lnTo>
                  <a:pt x="968452" y="368830"/>
                </a:lnTo>
                <a:lnTo>
                  <a:pt x="968452" y="463056"/>
                </a:lnTo>
                <a:lnTo>
                  <a:pt x="889164" y="463056"/>
                </a:lnTo>
                <a:lnTo>
                  <a:pt x="925976" y="503439"/>
                </a:lnTo>
                <a:lnTo>
                  <a:pt x="917481" y="551899"/>
                </a:lnTo>
                <a:lnTo>
                  <a:pt x="838193" y="551899"/>
                </a:lnTo>
                <a:lnTo>
                  <a:pt x="739082" y="613819"/>
                </a:lnTo>
                <a:lnTo>
                  <a:pt x="739082" y="551899"/>
                </a:lnTo>
                <a:lnTo>
                  <a:pt x="699438" y="551899"/>
                </a:lnTo>
                <a:lnTo>
                  <a:pt x="648467" y="551899"/>
                </a:lnTo>
                <a:lnTo>
                  <a:pt x="600327" y="551899"/>
                </a:lnTo>
                <a:lnTo>
                  <a:pt x="557851" y="613819"/>
                </a:lnTo>
                <a:lnTo>
                  <a:pt x="506880" y="613819"/>
                </a:lnTo>
                <a:lnTo>
                  <a:pt x="506880" y="662278"/>
                </a:lnTo>
                <a:lnTo>
                  <a:pt x="461572" y="662278"/>
                </a:lnTo>
                <a:lnTo>
                  <a:pt x="368125" y="613819"/>
                </a:lnTo>
                <a:lnTo>
                  <a:pt x="280342" y="613819"/>
                </a:lnTo>
                <a:lnTo>
                  <a:pt x="189726" y="613819"/>
                </a:lnTo>
                <a:lnTo>
                  <a:pt x="138755" y="613819"/>
                </a:lnTo>
                <a:lnTo>
                  <a:pt x="87784" y="503439"/>
                </a:lnTo>
                <a:lnTo>
                  <a:pt x="0" y="503439"/>
                </a:lnTo>
                <a:lnTo>
                  <a:pt x="0" y="368830"/>
                </a:lnTo>
                <a:lnTo>
                  <a:pt x="50971" y="331139"/>
                </a:lnTo>
                <a:lnTo>
                  <a:pt x="50971" y="247681"/>
                </a:lnTo>
                <a:lnTo>
                  <a:pt x="87784" y="247681"/>
                </a:lnTo>
                <a:lnTo>
                  <a:pt x="87784" y="131917"/>
                </a:lnTo>
                <a:lnTo>
                  <a:pt x="138755" y="9691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>
              <a:defRPr lang="pt-BR" dirty="0" smtClean="0"/>
            </a:lvl2pPr>
            <a:lvl3pPr marL="914400" indent="0">
              <a:buNone/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54" name="Espaço Reservado para Texto 223">
            <a:extLst>
              <a:ext uri="{FF2B5EF4-FFF2-40B4-BE49-F238E27FC236}">
                <a16:creationId xmlns:a16="http://schemas.microsoft.com/office/drawing/2014/main" id="{9F974E9B-82B2-4319-971E-2D4EA52A3F2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796035" y="5163653"/>
            <a:ext cx="836510" cy="514519"/>
          </a:xfrm>
          <a:custGeom>
            <a:avLst/>
            <a:gdLst>
              <a:gd name="connsiteX0" fmla="*/ 518920 w 836510"/>
              <a:gd name="connsiteY0" fmla="*/ 0 h 514519"/>
              <a:gd name="connsiteX1" fmla="*/ 657866 w 836510"/>
              <a:gd name="connsiteY1" fmla="*/ 0 h 514519"/>
              <a:gd name="connsiteX2" fmla="*/ 657866 w 836510"/>
              <a:gd name="connsiteY2" fmla="*/ 66995 h 514519"/>
              <a:gd name="connsiteX3" fmla="*/ 757113 w 836510"/>
              <a:gd name="connsiteY3" fmla="*/ 0 h 514519"/>
              <a:gd name="connsiteX4" fmla="*/ 836510 w 836510"/>
              <a:gd name="connsiteY4" fmla="*/ 0 h 514519"/>
              <a:gd name="connsiteX5" fmla="*/ 785469 w 836510"/>
              <a:gd name="connsiteY5" fmla="*/ 66995 h 514519"/>
              <a:gd name="connsiteX6" fmla="*/ 785469 w 836510"/>
              <a:gd name="connsiteY6" fmla="*/ 136669 h 514519"/>
              <a:gd name="connsiteX7" fmla="*/ 785469 w 836510"/>
              <a:gd name="connsiteY7" fmla="*/ 211703 h 514519"/>
              <a:gd name="connsiteX8" fmla="*/ 785469 w 836510"/>
              <a:gd name="connsiteY8" fmla="*/ 364451 h 514519"/>
              <a:gd name="connsiteX9" fmla="*/ 748606 w 836510"/>
              <a:gd name="connsiteY9" fmla="*/ 364451 h 514519"/>
              <a:gd name="connsiteX10" fmla="*/ 748606 w 836510"/>
              <a:gd name="connsiteY10" fmla="*/ 431446 h 514519"/>
              <a:gd name="connsiteX11" fmla="*/ 646523 w 836510"/>
              <a:gd name="connsiteY11" fmla="*/ 514519 h 514519"/>
              <a:gd name="connsiteX12" fmla="*/ 558619 w 836510"/>
              <a:gd name="connsiteY12" fmla="*/ 514519 h 514519"/>
              <a:gd name="connsiteX13" fmla="*/ 646523 w 836510"/>
              <a:gd name="connsiteY13" fmla="*/ 431446 h 514519"/>
              <a:gd name="connsiteX14" fmla="*/ 598318 w 836510"/>
              <a:gd name="connsiteY14" fmla="*/ 364451 h 514519"/>
              <a:gd name="connsiteX15" fmla="*/ 507577 w 836510"/>
              <a:gd name="connsiteY15" fmla="*/ 364451 h 514519"/>
              <a:gd name="connsiteX16" fmla="*/ 328933 w 836510"/>
              <a:gd name="connsiteY16" fmla="*/ 184906 h 514519"/>
              <a:gd name="connsiteX17" fmla="*/ 0 w 836510"/>
              <a:gd name="connsiteY17" fmla="*/ 184906 h 514519"/>
              <a:gd name="connsiteX18" fmla="*/ 59548 w 836510"/>
              <a:gd name="connsiteY18" fmla="*/ 139349 h 514519"/>
              <a:gd name="connsiteX19" fmla="*/ 59548 w 836510"/>
              <a:gd name="connsiteY19" fmla="*/ 66995 h 514519"/>
              <a:gd name="connsiteX20" fmla="*/ 297741 w 836510"/>
              <a:gd name="connsiteY20" fmla="*/ 66995 h 514519"/>
              <a:gd name="connsiteX21" fmla="*/ 379974 w 836510"/>
              <a:gd name="connsiteY21" fmla="*/ 109871 h 514519"/>
              <a:gd name="connsiteX22" fmla="*/ 428180 w 836510"/>
              <a:gd name="connsiteY22" fmla="*/ 101832 h 514519"/>
              <a:gd name="connsiteX23" fmla="*/ 428180 w 836510"/>
              <a:gd name="connsiteY23" fmla="*/ 66995 h 514519"/>
              <a:gd name="connsiteX24" fmla="*/ 479221 w 836510"/>
              <a:gd name="connsiteY24" fmla="*/ 66995 h 51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36510" h="514519">
                <a:moveTo>
                  <a:pt x="518920" y="0"/>
                </a:moveTo>
                <a:lnTo>
                  <a:pt x="657866" y="0"/>
                </a:lnTo>
                <a:lnTo>
                  <a:pt x="657866" y="66995"/>
                </a:lnTo>
                <a:lnTo>
                  <a:pt x="757113" y="0"/>
                </a:lnTo>
                <a:lnTo>
                  <a:pt x="836510" y="0"/>
                </a:lnTo>
                <a:lnTo>
                  <a:pt x="785469" y="66995"/>
                </a:lnTo>
                <a:lnTo>
                  <a:pt x="785469" y="136669"/>
                </a:lnTo>
                <a:lnTo>
                  <a:pt x="785469" y="211703"/>
                </a:lnTo>
                <a:lnTo>
                  <a:pt x="785469" y="364451"/>
                </a:lnTo>
                <a:lnTo>
                  <a:pt x="748606" y="364451"/>
                </a:lnTo>
                <a:lnTo>
                  <a:pt x="748606" y="431446"/>
                </a:lnTo>
                <a:lnTo>
                  <a:pt x="646523" y="514519"/>
                </a:lnTo>
                <a:lnTo>
                  <a:pt x="558619" y="514519"/>
                </a:lnTo>
                <a:lnTo>
                  <a:pt x="646523" y="431446"/>
                </a:lnTo>
                <a:lnTo>
                  <a:pt x="598318" y="364451"/>
                </a:lnTo>
                <a:lnTo>
                  <a:pt x="507577" y="364451"/>
                </a:lnTo>
                <a:lnTo>
                  <a:pt x="328933" y="184906"/>
                </a:lnTo>
                <a:lnTo>
                  <a:pt x="0" y="184906"/>
                </a:lnTo>
                <a:lnTo>
                  <a:pt x="59548" y="139349"/>
                </a:lnTo>
                <a:lnTo>
                  <a:pt x="59548" y="66995"/>
                </a:lnTo>
                <a:lnTo>
                  <a:pt x="297741" y="66995"/>
                </a:lnTo>
                <a:lnTo>
                  <a:pt x="379974" y="109871"/>
                </a:lnTo>
                <a:lnTo>
                  <a:pt x="428180" y="101832"/>
                </a:lnTo>
                <a:lnTo>
                  <a:pt x="428180" y="66995"/>
                </a:lnTo>
                <a:lnTo>
                  <a:pt x="479221" y="669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55" name="Espaço Reservado para Texto 240">
            <a:extLst>
              <a:ext uri="{FF2B5EF4-FFF2-40B4-BE49-F238E27FC236}">
                <a16:creationId xmlns:a16="http://schemas.microsoft.com/office/drawing/2014/main" id="{C4559A5E-6C3E-43F8-8B53-7AF26F76393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292236" y="5352100"/>
            <a:ext cx="1152292" cy="962192"/>
          </a:xfrm>
          <a:custGeom>
            <a:avLst/>
            <a:gdLst>
              <a:gd name="connsiteX0" fmla="*/ 502354 w 1152292"/>
              <a:gd name="connsiteY0" fmla="*/ 0 h 962192"/>
              <a:gd name="connsiteX1" fmla="*/ 831580 w 1152292"/>
              <a:gd name="connsiteY1" fmla="*/ 0 h 962192"/>
              <a:gd name="connsiteX2" fmla="*/ 1013222 w 1152292"/>
              <a:gd name="connsiteY2" fmla="*/ 179574 h 962192"/>
              <a:gd name="connsiteX3" fmla="*/ 1104044 w 1152292"/>
              <a:gd name="connsiteY3" fmla="*/ 179574 h 962192"/>
              <a:gd name="connsiteX4" fmla="*/ 1152292 w 1152292"/>
              <a:gd name="connsiteY4" fmla="*/ 246579 h 962192"/>
              <a:gd name="connsiteX5" fmla="*/ 1104044 w 1152292"/>
              <a:gd name="connsiteY5" fmla="*/ 284101 h 962192"/>
              <a:gd name="connsiteX6" fmla="*/ 1061471 w 1152292"/>
              <a:gd name="connsiteY6" fmla="*/ 329665 h 962192"/>
              <a:gd name="connsiteX7" fmla="*/ 1104044 w 1152292"/>
              <a:gd name="connsiteY7" fmla="*/ 329665 h 962192"/>
              <a:gd name="connsiteX8" fmla="*/ 1152292 w 1152292"/>
              <a:gd name="connsiteY8" fmla="*/ 329665 h 962192"/>
              <a:gd name="connsiteX9" fmla="*/ 1061471 w 1152292"/>
              <a:gd name="connsiteY9" fmla="*/ 415431 h 962192"/>
              <a:gd name="connsiteX10" fmla="*/ 1013222 w 1152292"/>
              <a:gd name="connsiteY10" fmla="*/ 549441 h 962192"/>
              <a:gd name="connsiteX11" fmla="*/ 871315 w 1152292"/>
              <a:gd name="connsiteY11" fmla="*/ 670050 h 962192"/>
              <a:gd name="connsiteX12" fmla="*/ 783332 w 1152292"/>
              <a:gd name="connsiteY12" fmla="*/ 745096 h 962192"/>
              <a:gd name="connsiteX13" fmla="*/ 740759 w 1152292"/>
              <a:gd name="connsiteY13" fmla="*/ 790659 h 962192"/>
              <a:gd name="connsiteX14" fmla="*/ 692511 w 1152292"/>
              <a:gd name="connsiteY14" fmla="*/ 879106 h 962192"/>
              <a:gd name="connsiteX15" fmla="*/ 598851 w 1152292"/>
              <a:gd name="connsiteY15" fmla="*/ 962192 h 962192"/>
              <a:gd name="connsiteX16" fmla="*/ 553441 w 1152292"/>
              <a:gd name="connsiteY16" fmla="*/ 913949 h 962192"/>
              <a:gd name="connsiteX17" fmla="*/ 553441 w 1152292"/>
              <a:gd name="connsiteY17" fmla="*/ 879106 h 962192"/>
              <a:gd name="connsiteX18" fmla="*/ 598851 w 1152292"/>
              <a:gd name="connsiteY18" fmla="*/ 879106 h 962192"/>
              <a:gd name="connsiteX19" fmla="*/ 598851 w 1152292"/>
              <a:gd name="connsiteY19" fmla="*/ 830862 h 962192"/>
              <a:gd name="connsiteX20" fmla="*/ 502354 w 1152292"/>
              <a:gd name="connsiteY20" fmla="*/ 745096 h 962192"/>
              <a:gd name="connsiteX21" fmla="*/ 459782 w 1152292"/>
              <a:gd name="connsiteY21" fmla="*/ 699533 h 962192"/>
              <a:gd name="connsiteX22" fmla="*/ 411533 w 1152292"/>
              <a:gd name="connsiteY22" fmla="*/ 651289 h 962192"/>
              <a:gd name="connsiteX23" fmla="*/ 368961 w 1152292"/>
              <a:gd name="connsiteY23" fmla="*/ 651289 h 962192"/>
              <a:gd name="connsiteX24" fmla="*/ 280978 w 1152292"/>
              <a:gd name="connsiteY24" fmla="*/ 549441 h 962192"/>
              <a:gd name="connsiteX25" fmla="*/ 229891 w 1152292"/>
              <a:gd name="connsiteY25" fmla="*/ 584284 h 962192"/>
              <a:gd name="connsiteX26" fmla="*/ 187319 w 1152292"/>
              <a:gd name="connsiteY26" fmla="*/ 584284 h 962192"/>
              <a:gd name="connsiteX27" fmla="*/ 187319 w 1152292"/>
              <a:gd name="connsiteY27" fmla="*/ 549441 h 962192"/>
              <a:gd name="connsiteX28" fmla="*/ 139070 w 1152292"/>
              <a:gd name="connsiteY28" fmla="*/ 501198 h 962192"/>
              <a:gd name="connsiteX29" fmla="*/ 139070 w 1152292"/>
              <a:gd name="connsiteY29" fmla="*/ 460995 h 962192"/>
              <a:gd name="connsiteX30" fmla="*/ 48249 w 1152292"/>
              <a:gd name="connsiteY30" fmla="*/ 460995 h 962192"/>
              <a:gd name="connsiteX31" fmla="*/ 48249 w 1152292"/>
              <a:gd name="connsiteY31" fmla="*/ 501198 h 962192"/>
              <a:gd name="connsiteX32" fmla="*/ 0 w 1152292"/>
              <a:gd name="connsiteY32" fmla="*/ 460995 h 962192"/>
              <a:gd name="connsiteX33" fmla="*/ 0 w 1152292"/>
              <a:gd name="connsiteY33" fmla="*/ 415431 h 962192"/>
              <a:gd name="connsiteX34" fmla="*/ 90821 w 1152292"/>
              <a:gd name="connsiteY34" fmla="*/ 329665 h 962192"/>
              <a:gd name="connsiteX35" fmla="*/ 139070 w 1152292"/>
              <a:gd name="connsiteY35" fmla="*/ 329665 h 962192"/>
              <a:gd name="connsiteX36" fmla="*/ 229891 w 1152292"/>
              <a:gd name="connsiteY36" fmla="*/ 179574 h 962192"/>
              <a:gd name="connsiteX37" fmla="*/ 368961 w 1152292"/>
              <a:gd name="connsiteY37" fmla="*/ 48244 h 962192"/>
              <a:gd name="connsiteX38" fmla="*/ 459782 w 1152292"/>
              <a:gd name="connsiteY38" fmla="*/ 48244 h 962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1152292" h="962192">
                <a:moveTo>
                  <a:pt x="502354" y="0"/>
                </a:moveTo>
                <a:lnTo>
                  <a:pt x="831580" y="0"/>
                </a:lnTo>
                <a:lnTo>
                  <a:pt x="1013222" y="179574"/>
                </a:lnTo>
                <a:lnTo>
                  <a:pt x="1104044" y="179574"/>
                </a:lnTo>
                <a:lnTo>
                  <a:pt x="1152292" y="246579"/>
                </a:lnTo>
                <a:lnTo>
                  <a:pt x="1104044" y="284101"/>
                </a:lnTo>
                <a:lnTo>
                  <a:pt x="1061471" y="329665"/>
                </a:lnTo>
                <a:lnTo>
                  <a:pt x="1104044" y="329665"/>
                </a:lnTo>
                <a:lnTo>
                  <a:pt x="1152292" y="329665"/>
                </a:lnTo>
                <a:lnTo>
                  <a:pt x="1061471" y="415431"/>
                </a:lnTo>
                <a:lnTo>
                  <a:pt x="1013222" y="549441"/>
                </a:lnTo>
                <a:lnTo>
                  <a:pt x="871315" y="670050"/>
                </a:lnTo>
                <a:lnTo>
                  <a:pt x="783332" y="745096"/>
                </a:lnTo>
                <a:lnTo>
                  <a:pt x="740759" y="790659"/>
                </a:lnTo>
                <a:lnTo>
                  <a:pt x="692511" y="879106"/>
                </a:lnTo>
                <a:lnTo>
                  <a:pt x="598851" y="962192"/>
                </a:lnTo>
                <a:lnTo>
                  <a:pt x="553441" y="913949"/>
                </a:lnTo>
                <a:lnTo>
                  <a:pt x="553441" y="879106"/>
                </a:lnTo>
                <a:lnTo>
                  <a:pt x="598851" y="879106"/>
                </a:lnTo>
                <a:lnTo>
                  <a:pt x="598851" y="830862"/>
                </a:lnTo>
                <a:lnTo>
                  <a:pt x="502354" y="745096"/>
                </a:lnTo>
                <a:lnTo>
                  <a:pt x="459782" y="699533"/>
                </a:lnTo>
                <a:lnTo>
                  <a:pt x="411533" y="651289"/>
                </a:lnTo>
                <a:lnTo>
                  <a:pt x="368961" y="651289"/>
                </a:lnTo>
                <a:lnTo>
                  <a:pt x="280978" y="549441"/>
                </a:lnTo>
                <a:lnTo>
                  <a:pt x="229891" y="584284"/>
                </a:lnTo>
                <a:lnTo>
                  <a:pt x="187319" y="584284"/>
                </a:lnTo>
                <a:lnTo>
                  <a:pt x="187319" y="549441"/>
                </a:lnTo>
                <a:lnTo>
                  <a:pt x="139070" y="501198"/>
                </a:lnTo>
                <a:lnTo>
                  <a:pt x="139070" y="460995"/>
                </a:lnTo>
                <a:lnTo>
                  <a:pt x="48249" y="460995"/>
                </a:lnTo>
                <a:lnTo>
                  <a:pt x="48249" y="501198"/>
                </a:lnTo>
                <a:lnTo>
                  <a:pt x="0" y="460995"/>
                </a:lnTo>
                <a:lnTo>
                  <a:pt x="0" y="415431"/>
                </a:lnTo>
                <a:lnTo>
                  <a:pt x="90821" y="329665"/>
                </a:lnTo>
                <a:lnTo>
                  <a:pt x="139070" y="329665"/>
                </a:lnTo>
                <a:lnTo>
                  <a:pt x="229891" y="179574"/>
                </a:lnTo>
                <a:lnTo>
                  <a:pt x="368961" y="48244"/>
                </a:lnTo>
                <a:lnTo>
                  <a:pt x="459782" y="482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tx2">
                <a:lumMod val="90000"/>
              </a:schemeClr>
            </a:solidFill>
          </a:ln>
        </p:spPr>
        <p:txBody>
          <a:bodyPr wrap="square" anchor="ctr">
            <a:noAutofit/>
          </a:bodyPr>
          <a:lstStyle>
            <a:lvl1pPr>
              <a:defRPr lang="pt-BR" sz="200" dirty="0" smtClean="0">
                <a:ln>
                  <a:noFill/>
                </a:ln>
                <a:solidFill>
                  <a:schemeClr val="tx1">
                    <a:alpha val="0"/>
                  </a:schemeClr>
                </a:solidFill>
              </a:defRPr>
            </a:lvl1pPr>
            <a:lvl2pPr marL="457200" indent="0">
              <a:buNone/>
              <a:defRPr lang="pt-BR" dirty="0" smtClean="0"/>
            </a:lvl2pPr>
            <a:lvl3pPr>
              <a:defRPr lang="pt-BR" dirty="0" smtClean="0"/>
            </a:lvl3pPr>
            <a:lvl4pPr>
              <a:defRPr lang="pt-BR" dirty="0" smtClean="0"/>
            </a:lvl4pPr>
            <a:lvl5pPr>
              <a:defRPr lang="pt-BR" dirty="0"/>
            </a:lvl5pPr>
          </a:lstStyle>
          <a:p>
            <a:pPr marL="0" lvl="0" indent="0" algn="ctr">
              <a:buNone/>
            </a:pPr>
            <a:endParaRPr lang="pt-BR"/>
          </a:p>
        </p:txBody>
      </p:sp>
      <p:sp>
        <p:nvSpPr>
          <p:cNvPr id="57" name="Espaço Reservado para Texto 21">
            <a:extLst>
              <a:ext uri="{FF2B5EF4-FFF2-40B4-BE49-F238E27FC236}">
                <a16:creationId xmlns:a16="http://schemas.microsoft.com/office/drawing/2014/main" id="{9213435C-6E53-4EBC-ADE4-82F4FA82AF3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 rot="10800000" flipV="1">
            <a:off x="769255" y="3410857"/>
            <a:ext cx="2351316" cy="362857"/>
          </a:xfrm>
          <a:prstGeom prst="roundRect">
            <a:avLst>
              <a:gd name="adj" fmla="val 23667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58" name="Espaço Reservado para Texto 3">
            <a:extLst>
              <a:ext uri="{FF2B5EF4-FFF2-40B4-BE49-F238E27FC236}">
                <a16:creationId xmlns:a16="http://schemas.microsoft.com/office/drawing/2014/main" id="{47BE5B79-B342-4508-BF57-470FF6DBECC6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29910" y="3447450"/>
            <a:ext cx="1348833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</a:t>
            </a:r>
          </a:p>
        </p:txBody>
      </p:sp>
      <p:sp>
        <p:nvSpPr>
          <p:cNvPr id="59" name="Espaço Reservado para Texto 3">
            <a:extLst>
              <a:ext uri="{FF2B5EF4-FFF2-40B4-BE49-F238E27FC236}">
                <a16:creationId xmlns:a16="http://schemas.microsoft.com/office/drawing/2014/main" id="{104FB710-D99C-482A-83C5-EEDBA5278E9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701900" y="3938555"/>
            <a:ext cx="2132843" cy="768860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</a:t>
            </a:r>
            <a:r>
              <a:rPr lang="pt-BR"/>
              <a:t>.</a:t>
            </a:r>
          </a:p>
        </p:txBody>
      </p:sp>
      <p:sp>
        <p:nvSpPr>
          <p:cNvPr id="60" name="Espaço Reservado para Texto 21">
            <a:extLst>
              <a:ext uri="{FF2B5EF4-FFF2-40B4-BE49-F238E27FC236}">
                <a16:creationId xmlns:a16="http://schemas.microsoft.com/office/drawing/2014/main" id="{45A40550-41AA-4F02-909F-C4E7E9809F7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 rot="10800000" flipV="1">
            <a:off x="3570512" y="3410857"/>
            <a:ext cx="2351316" cy="362857"/>
          </a:xfrm>
          <a:prstGeom prst="roundRect">
            <a:avLst>
              <a:gd name="adj" fmla="val 28427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61" name="Espaço Reservado para Texto 3">
            <a:extLst>
              <a:ext uri="{FF2B5EF4-FFF2-40B4-BE49-F238E27FC236}">
                <a16:creationId xmlns:a16="http://schemas.microsoft.com/office/drawing/2014/main" id="{AEF4081C-CCF9-42C6-8C28-30F0C808A1C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31167" y="3447450"/>
            <a:ext cx="1348833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</a:t>
            </a:r>
          </a:p>
        </p:txBody>
      </p:sp>
      <p:sp>
        <p:nvSpPr>
          <p:cNvPr id="62" name="Espaço Reservado para Texto 3">
            <a:extLst>
              <a:ext uri="{FF2B5EF4-FFF2-40B4-BE49-F238E27FC236}">
                <a16:creationId xmlns:a16="http://schemas.microsoft.com/office/drawing/2014/main" id="{04B36956-77DB-4C3B-9BC1-FCCB91029A8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900643" y="5448040"/>
            <a:ext cx="2132843" cy="768860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</a:t>
            </a:r>
            <a:r>
              <a:rPr lang="pt-BR"/>
              <a:t>.</a:t>
            </a:r>
          </a:p>
        </p:txBody>
      </p:sp>
      <p:sp>
        <p:nvSpPr>
          <p:cNvPr id="63" name="Espaço Reservado para Texto 21">
            <a:extLst>
              <a:ext uri="{FF2B5EF4-FFF2-40B4-BE49-F238E27FC236}">
                <a16:creationId xmlns:a16="http://schemas.microsoft.com/office/drawing/2014/main" id="{8E68C22A-2BB2-444B-A046-EE0EC7846D4C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 rot="10800000" flipV="1">
            <a:off x="769255" y="4920342"/>
            <a:ext cx="2351316" cy="362857"/>
          </a:xfrm>
          <a:prstGeom prst="roundRect">
            <a:avLst>
              <a:gd name="adj" fmla="val 26467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64" name="Espaço Reservado para Texto 3">
            <a:extLst>
              <a:ext uri="{FF2B5EF4-FFF2-40B4-BE49-F238E27FC236}">
                <a16:creationId xmlns:a16="http://schemas.microsoft.com/office/drawing/2014/main" id="{D699A934-9B61-461C-B4C2-DEE134A0B6C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29910" y="4956935"/>
            <a:ext cx="1348833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</a:t>
            </a:r>
          </a:p>
        </p:txBody>
      </p:sp>
      <p:sp>
        <p:nvSpPr>
          <p:cNvPr id="65" name="Espaço Reservado para Texto 3">
            <a:extLst>
              <a:ext uri="{FF2B5EF4-FFF2-40B4-BE49-F238E27FC236}">
                <a16:creationId xmlns:a16="http://schemas.microsoft.com/office/drawing/2014/main" id="{82550FD7-66C0-4547-9039-167540EB0D7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701900" y="5448040"/>
            <a:ext cx="2132843" cy="768860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</a:t>
            </a:r>
            <a:r>
              <a:rPr lang="pt-BR"/>
              <a:t>.</a:t>
            </a:r>
          </a:p>
        </p:txBody>
      </p:sp>
      <p:sp>
        <p:nvSpPr>
          <p:cNvPr id="66" name="Espaço Reservado para Texto 21">
            <a:extLst>
              <a:ext uri="{FF2B5EF4-FFF2-40B4-BE49-F238E27FC236}">
                <a16:creationId xmlns:a16="http://schemas.microsoft.com/office/drawing/2014/main" id="{C000CE79-2B59-47E0-B4E7-1188435138A6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 rot="10800000" flipV="1">
            <a:off x="3570512" y="4920342"/>
            <a:ext cx="2351316" cy="362857"/>
          </a:xfrm>
          <a:prstGeom prst="roundRect">
            <a:avLst>
              <a:gd name="adj" fmla="val 28427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67" name="Espaço Reservado para Texto 3">
            <a:extLst>
              <a:ext uri="{FF2B5EF4-FFF2-40B4-BE49-F238E27FC236}">
                <a16:creationId xmlns:a16="http://schemas.microsoft.com/office/drawing/2014/main" id="{6EE21177-4940-4553-8712-181504A3131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31167" y="4956935"/>
            <a:ext cx="1348833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</a:t>
            </a:r>
          </a:p>
        </p:txBody>
      </p:sp>
      <p:sp>
        <p:nvSpPr>
          <p:cNvPr id="74" name="Espaço Reservado para Texto 3">
            <a:extLst>
              <a:ext uri="{FF2B5EF4-FFF2-40B4-BE49-F238E27FC236}">
                <a16:creationId xmlns:a16="http://schemas.microsoft.com/office/drawing/2014/main" id="{FC118263-78AC-4390-9231-23A40E38DC0B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00643" y="2414555"/>
            <a:ext cx="2132843" cy="768860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</a:t>
            </a:r>
            <a:r>
              <a:rPr lang="pt-BR"/>
              <a:t>.</a:t>
            </a:r>
          </a:p>
        </p:txBody>
      </p:sp>
      <p:sp>
        <p:nvSpPr>
          <p:cNvPr id="75" name="Espaço Reservado para Texto 21">
            <a:extLst>
              <a:ext uri="{FF2B5EF4-FFF2-40B4-BE49-F238E27FC236}">
                <a16:creationId xmlns:a16="http://schemas.microsoft.com/office/drawing/2014/main" id="{9DBAB339-2ACA-4961-B311-ADF06170376E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 rot="10800000" flipV="1">
            <a:off x="769255" y="1886857"/>
            <a:ext cx="2351316" cy="362857"/>
          </a:xfrm>
          <a:prstGeom prst="roundRect">
            <a:avLst>
              <a:gd name="adj" fmla="val 26467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76" name="Espaço Reservado para Texto 3">
            <a:extLst>
              <a:ext uri="{FF2B5EF4-FFF2-40B4-BE49-F238E27FC236}">
                <a16:creationId xmlns:a16="http://schemas.microsoft.com/office/drawing/2014/main" id="{6149E648-F99E-4A19-90B3-0EE34F2BB5B0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29910" y="1923450"/>
            <a:ext cx="1348833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Tópico</a:t>
            </a:r>
          </a:p>
        </p:txBody>
      </p:sp>
      <p:sp>
        <p:nvSpPr>
          <p:cNvPr id="72" name="Textfeld 26">
            <a:extLst>
              <a:ext uri="{FF2B5EF4-FFF2-40B4-BE49-F238E27FC236}">
                <a16:creationId xmlns:a16="http://schemas.microsoft.com/office/drawing/2014/main" id="{7A8DD948-CFBB-4EAD-AD33-67F55FA83C09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77" name="CaixaDeTexto 76">
            <a:extLst>
              <a:ext uri="{FF2B5EF4-FFF2-40B4-BE49-F238E27FC236}">
                <a16:creationId xmlns:a16="http://schemas.microsoft.com/office/drawing/2014/main" id="{EE755EE1-04E1-4989-A0E3-BAAF11612811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79" name="Espaço Reservado para Texto 21">
            <a:extLst>
              <a:ext uri="{FF2B5EF4-FFF2-40B4-BE49-F238E27FC236}">
                <a16:creationId xmlns:a16="http://schemas.microsoft.com/office/drawing/2014/main" id="{9FD39985-20C9-45DD-8103-3A5063B50E2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10800000" flipV="1">
            <a:off x="438147" y="333181"/>
            <a:ext cx="5900643" cy="1087377"/>
          </a:xfrm>
          <a:prstGeom prst="roundRect">
            <a:avLst>
              <a:gd name="adj" fmla="val 25182"/>
            </a:avLst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8100000" scaled="1"/>
            <a:tileRect/>
          </a:gra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80" name="Título 1">
            <a:extLst>
              <a:ext uri="{FF2B5EF4-FFF2-40B4-BE49-F238E27FC236}">
                <a16:creationId xmlns:a16="http://schemas.microsoft.com/office/drawing/2014/main" id="{E01EDDF7-70B7-4556-B79C-F0F13DC60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4363" y="434462"/>
            <a:ext cx="5110843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81" name="Espaço Reservado para Texto 3">
            <a:extLst>
              <a:ext uri="{FF2B5EF4-FFF2-40B4-BE49-F238E27FC236}">
                <a16:creationId xmlns:a16="http://schemas.microsoft.com/office/drawing/2014/main" id="{73DC2B1F-405B-4EE9-8BCF-9633BEA8A14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54363" y="1051698"/>
            <a:ext cx="5124451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pic>
        <p:nvPicPr>
          <p:cNvPr id="56" name="Imagem 55" descr="Uma imagem contendo Logotipo&#10;&#10;Descrição gerada automaticamente">
            <a:extLst>
              <a:ext uri="{FF2B5EF4-FFF2-40B4-BE49-F238E27FC236}">
                <a16:creationId xmlns:a16="http://schemas.microsoft.com/office/drawing/2014/main" id="{E28231C8-6810-4B08-A499-2A0BD5AB81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972" y="5892977"/>
            <a:ext cx="1503435" cy="93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2188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36758578-286C-4CEF-9B0C-40FFD4D2BE2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0380" y="4758741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33" name="Espaço Reservado para Texto 3">
            <a:extLst>
              <a:ext uri="{FF2B5EF4-FFF2-40B4-BE49-F238E27FC236}">
                <a16:creationId xmlns:a16="http://schemas.microsoft.com/office/drawing/2014/main" id="{04650401-03E7-4122-8F21-DDAD315D87D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95330" y="4758741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35" name="Espaço Reservado para Texto 3">
            <a:extLst>
              <a:ext uri="{FF2B5EF4-FFF2-40B4-BE49-F238E27FC236}">
                <a16:creationId xmlns:a16="http://schemas.microsoft.com/office/drawing/2014/main" id="{15AEA6A6-565E-4B83-B956-8467A661BCA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70280" y="4758741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6EDC0191-B6E7-45ED-820F-8B13FAD274D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945230" y="4758741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19" name="Espaço Reservado para Texto 3">
            <a:extLst>
              <a:ext uri="{FF2B5EF4-FFF2-40B4-BE49-F238E27FC236}">
                <a16:creationId xmlns:a16="http://schemas.microsoft.com/office/drawing/2014/main" id="{8056883B-FDC9-4F66-9789-7205D3AD43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254" y="4102060"/>
            <a:ext cx="2467321" cy="5159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3200" b="0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PASSO #</a:t>
            </a:r>
          </a:p>
        </p:txBody>
      </p:sp>
      <p:sp>
        <p:nvSpPr>
          <p:cNvPr id="24" name="Espaço Reservado para Texto 3">
            <a:extLst>
              <a:ext uri="{FF2B5EF4-FFF2-40B4-BE49-F238E27FC236}">
                <a16:creationId xmlns:a16="http://schemas.microsoft.com/office/drawing/2014/main" id="{A270EFDC-FE93-4A1F-84EF-37879AEB570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385792" y="4102060"/>
            <a:ext cx="2410171" cy="5159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3200" b="0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PASSO #</a:t>
            </a:r>
          </a:p>
        </p:txBody>
      </p:sp>
      <p:sp>
        <p:nvSpPr>
          <p:cNvPr id="25" name="Espaço Reservado para Texto 3">
            <a:extLst>
              <a:ext uri="{FF2B5EF4-FFF2-40B4-BE49-F238E27FC236}">
                <a16:creationId xmlns:a16="http://schemas.microsoft.com/office/drawing/2014/main" id="{2F27A804-6081-49CB-8492-3BDD570C02B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157566" y="4102060"/>
            <a:ext cx="2438746" cy="5159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3200" b="0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PASSO #</a:t>
            </a:r>
          </a:p>
        </p:txBody>
      </p:sp>
      <p:sp>
        <p:nvSpPr>
          <p:cNvPr id="26" name="Espaço Reservado para Texto 3">
            <a:extLst>
              <a:ext uri="{FF2B5EF4-FFF2-40B4-BE49-F238E27FC236}">
                <a16:creationId xmlns:a16="http://schemas.microsoft.com/office/drawing/2014/main" id="{6623293F-CCEC-4EAE-B1A3-6DAA58120C6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934104" y="4102060"/>
            <a:ext cx="2467321" cy="5159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buNone/>
              <a:defRPr sz="3200" b="0" i="0">
                <a:solidFill>
                  <a:srgbClr val="660099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PASSO #</a:t>
            </a:r>
          </a:p>
        </p:txBody>
      </p:sp>
      <p:sp>
        <p:nvSpPr>
          <p:cNvPr id="39" name="Espaço Reservado para Texto 21">
            <a:extLst>
              <a:ext uri="{FF2B5EF4-FFF2-40B4-BE49-F238E27FC236}">
                <a16:creationId xmlns:a16="http://schemas.microsoft.com/office/drawing/2014/main" id="{8C538CA2-1427-4A7D-B051-A23FBECA8F8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0800000">
            <a:off x="2054413" y="4438479"/>
            <a:ext cx="1047562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40" name="Espaço Reservado para Texto 21">
            <a:extLst>
              <a:ext uri="{FF2B5EF4-FFF2-40B4-BE49-F238E27FC236}">
                <a16:creationId xmlns:a16="http://schemas.microsoft.com/office/drawing/2014/main" id="{9E09A243-5F20-4B13-9BFE-03F2AA2C5C6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 rot="10800000">
            <a:off x="4803963" y="4438479"/>
            <a:ext cx="1047562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41" name="Espaço Reservado para Texto 21">
            <a:extLst>
              <a:ext uri="{FF2B5EF4-FFF2-40B4-BE49-F238E27FC236}">
                <a16:creationId xmlns:a16="http://schemas.microsoft.com/office/drawing/2014/main" id="{75E19D16-1B82-4A00-96C9-232C7A12F88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 rot="10800000">
            <a:off x="7566213" y="4438479"/>
            <a:ext cx="1047562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46" name="Espaço Reservado para Texto 21">
            <a:extLst>
              <a:ext uri="{FF2B5EF4-FFF2-40B4-BE49-F238E27FC236}">
                <a16:creationId xmlns:a16="http://schemas.microsoft.com/office/drawing/2014/main" id="{A5FC51F3-BBFA-4371-B2E0-A2F9318BAAF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 rot="10800000">
            <a:off x="10357038" y="4438479"/>
            <a:ext cx="1047562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1905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48" name="Textfeld 26">
            <a:extLst>
              <a:ext uri="{FF2B5EF4-FFF2-40B4-BE49-F238E27FC236}">
                <a16:creationId xmlns:a16="http://schemas.microsoft.com/office/drawing/2014/main" id="{7CE65DCB-709D-4532-97E7-CAA7898B5EF9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8692A47C-AFA2-495F-81C6-E90D9C8D2FF4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51" name="Forma Livre: Forma 50">
            <a:extLst>
              <a:ext uri="{FF2B5EF4-FFF2-40B4-BE49-F238E27FC236}">
                <a16:creationId xmlns:a16="http://schemas.microsoft.com/office/drawing/2014/main" id="{1BFA2C94-8FD4-42F9-ADAF-0917C3F3EF5B}"/>
              </a:ext>
            </a:extLst>
          </p:cNvPr>
          <p:cNvSpPr/>
          <p:nvPr userDrawn="1"/>
        </p:nvSpPr>
        <p:spPr>
          <a:xfrm>
            <a:off x="4982472" y="0"/>
            <a:ext cx="7209528" cy="3331312"/>
          </a:xfrm>
          <a:custGeom>
            <a:avLst/>
            <a:gdLst>
              <a:gd name="connsiteX0" fmla="*/ 439 w 7209528"/>
              <a:gd name="connsiteY0" fmla="*/ 0 h 3331312"/>
              <a:gd name="connsiteX1" fmla="*/ 7209528 w 7209528"/>
              <a:gd name="connsiteY1" fmla="*/ 0 h 3331312"/>
              <a:gd name="connsiteX2" fmla="*/ 7209528 w 7209528"/>
              <a:gd name="connsiteY2" fmla="*/ 3331312 h 3331312"/>
              <a:gd name="connsiteX3" fmla="*/ 7081392 w 7209528"/>
              <a:gd name="connsiteY3" fmla="*/ 3235367 h 3331312"/>
              <a:gd name="connsiteX4" fmla="*/ 3282944 w 7209528"/>
              <a:gd name="connsiteY4" fmla="*/ 2522119 h 3331312"/>
              <a:gd name="connsiteX5" fmla="*/ 0 w 7209528"/>
              <a:gd name="connsiteY5" fmla="*/ 80921 h 3331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09528" h="3331312">
                <a:moveTo>
                  <a:pt x="439" y="0"/>
                </a:moveTo>
                <a:lnTo>
                  <a:pt x="7209528" y="0"/>
                </a:lnTo>
                <a:lnTo>
                  <a:pt x="7209528" y="3331312"/>
                </a:lnTo>
                <a:lnTo>
                  <a:pt x="7081392" y="3235367"/>
                </a:lnTo>
                <a:cubicBezTo>
                  <a:pt x="6345472" y="2712263"/>
                  <a:pt x="5327101" y="2363602"/>
                  <a:pt x="3282944" y="2522119"/>
                </a:cubicBezTo>
                <a:cubicBezTo>
                  <a:pt x="1081934" y="2692936"/>
                  <a:pt x="60333" y="1527915"/>
                  <a:pt x="0" y="80921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2" name="Espaço Reservado para Imagem 39">
            <a:extLst>
              <a:ext uri="{FF2B5EF4-FFF2-40B4-BE49-F238E27FC236}">
                <a16:creationId xmlns:a16="http://schemas.microsoft.com/office/drawing/2014/main" id="{29CE3FD8-D3DB-4C4D-90D8-49245554CD8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11944" y="1028699"/>
            <a:ext cx="11521814" cy="2209800"/>
          </a:xfrm>
          <a:prstGeom prst="roundRect">
            <a:avLst>
              <a:gd name="adj" fmla="val 25047"/>
            </a:avLst>
          </a:prstGeom>
          <a:solidFill>
            <a:schemeClr val="bg2">
              <a:lumMod val="8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53" name="Espaço Reservado para Texto 21">
            <a:extLst>
              <a:ext uri="{FF2B5EF4-FFF2-40B4-BE49-F238E27FC236}">
                <a16:creationId xmlns:a16="http://schemas.microsoft.com/office/drawing/2014/main" id="{08945F4A-35C9-4084-9603-6209620CC6E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 rot="10800000" flipV="1">
            <a:off x="438147" y="333181"/>
            <a:ext cx="6391393" cy="1087377"/>
          </a:xfrm>
          <a:prstGeom prst="roundRect">
            <a:avLst>
              <a:gd name="adj" fmla="val 25182"/>
            </a:avLst>
          </a:prstGeom>
          <a:gradFill flip="none" rotWithShape="1">
            <a:gsLst>
              <a:gs pos="0">
                <a:srgbClr val="C87FF1"/>
              </a:gs>
              <a:gs pos="70000">
                <a:srgbClr val="660099"/>
              </a:gs>
            </a:gsLst>
            <a:lin ang="8100000" scaled="1"/>
            <a:tileRect/>
          </a:gra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54" name="Título 1">
            <a:extLst>
              <a:ext uri="{FF2B5EF4-FFF2-40B4-BE49-F238E27FC236}">
                <a16:creationId xmlns:a16="http://schemas.microsoft.com/office/drawing/2014/main" id="{13E8FD02-65C1-41AC-A759-86ED9EF42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4363" y="434462"/>
            <a:ext cx="5110843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55" name="Espaço Reservado para Texto 3">
            <a:extLst>
              <a:ext uri="{FF2B5EF4-FFF2-40B4-BE49-F238E27FC236}">
                <a16:creationId xmlns:a16="http://schemas.microsoft.com/office/drawing/2014/main" id="{2FA16A71-FD89-48AA-AAED-8BC445637A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4363" y="1051698"/>
            <a:ext cx="5124451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57" name="Espaço Reservado para Texto 21">
            <a:extLst>
              <a:ext uri="{FF2B5EF4-FFF2-40B4-BE49-F238E27FC236}">
                <a16:creationId xmlns:a16="http://schemas.microsoft.com/office/drawing/2014/main" id="{4FA508C5-6DAD-482A-A0F9-8058F543E12B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10675804" y="774982"/>
            <a:ext cx="574678" cy="574678"/>
          </a:xfrm>
          <a:prstGeom prst="ellipse">
            <a:avLst/>
          </a:prstGeom>
          <a:gradFill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60" name="Freeform 49">
            <a:extLst>
              <a:ext uri="{FF2B5EF4-FFF2-40B4-BE49-F238E27FC236}">
                <a16:creationId xmlns:a16="http://schemas.microsoft.com/office/drawing/2014/main" id="{3069E349-394A-40D1-9DAA-D7042874832D}"/>
              </a:ext>
            </a:extLst>
          </p:cNvPr>
          <p:cNvSpPr>
            <a:spLocks/>
          </p:cNvSpPr>
          <p:nvPr userDrawn="1"/>
        </p:nvSpPr>
        <p:spPr bwMode="auto">
          <a:xfrm>
            <a:off x="3155881" y="4304557"/>
            <a:ext cx="179178" cy="206107"/>
          </a:xfrm>
          <a:custGeom>
            <a:avLst/>
            <a:gdLst>
              <a:gd name="T0" fmla="*/ 21 w 143"/>
              <a:gd name="T1" fmla="*/ 5 h 165"/>
              <a:gd name="T2" fmla="*/ 134 w 143"/>
              <a:gd name="T3" fmla="*/ 70 h 165"/>
              <a:gd name="T4" fmla="*/ 134 w 143"/>
              <a:gd name="T5" fmla="*/ 94 h 165"/>
              <a:gd name="T6" fmla="*/ 21 w 143"/>
              <a:gd name="T7" fmla="*/ 159 h 165"/>
              <a:gd name="T8" fmla="*/ 0 w 143"/>
              <a:gd name="T9" fmla="*/ 147 h 165"/>
              <a:gd name="T10" fmla="*/ 0 w 143"/>
              <a:gd name="T11" fmla="*/ 17 h 165"/>
              <a:gd name="T12" fmla="*/ 21 w 143"/>
              <a:gd name="T13" fmla="*/ 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3" h="165">
                <a:moveTo>
                  <a:pt x="21" y="5"/>
                </a:moveTo>
                <a:cubicBezTo>
                  <a:pt x="134" y="70"/>
                  <a:pt x="134" y="70"/>
                  <a:pt x="134" y="70"/>
                </a:cubicBezTo>
                <a:cubicBezTo>
                  <a:pt x="143" y="76"/>
                  <a:pt x="143" y="89"/>
                  <a:pt x="134" y="94"/>
                </a:cubicBezTo>
                <a:cubicBezTo>
                  <a:pt x="21" y="159"/>
                  <a:pt x="21" y="159"/>
                  <a:pt x="21" y="159"/>
                </a:cubicBezTo>
                <a:cubicBezTo>
                  <a:pt x="12" y="165"/>
                  <a:pt x="0" y="158"/>
                  <a:pt x="0" y="14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7"/>
                  <a:pt x="12" y="0"/>
                  <a:pt x="21" y="5"/>
                </a:cubicBezTo>
              </a:path>
            </a:pathLst>
          </a:custGeom>
          <a:solidFill>
            <a:srgbClr val="99CC3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1" name="Freeform 49">
            <a:extLst>
              <a:ext uri="{FF2B5EF4-FFF2-40B4-BE49-F238E27FC236}">
                <a16:creationId xmlns:a16="http://schemas.microsoft.com/office/drawing/2014/main" id="{2E0B15E1-8444-406D-91F2-59A80C42DC5A}"/>
              </a:ext>
            </a:extLst>
          </p:cNvPr>
          <p:cNvSpPr>
            <a:spLocks/>
          </p:cNvSpPr>
          <p:nvPr userDrawn="1"/>
        </p:nvSpPr>
        <p:spPr bwMode="auto">
          <a:xfrm>
            <a:off x="5899081" y="4304557"/>
            <a:ext cx="179178" cy="206107"/>
          </a:xfrm>
          <a:custGeom>
            <a:avLst/>
            <a:gdLst>
              <a:gd name="T0" fmla="*/ 21 w 143"/>
              <a:gd name="T1" fmla="*/ 5 h 165"/>
              <a:gd name="T2" fmla="*/ 134 w 143"/>
              <a:gd name="T3" fmla="*/ 70 h 165"/>
              <a:gd name="T4" fmla="*/ 134 w 143"/>
              <a:gd name="T5" fmla="*/ 94 h 165"/>
              <a:gd name="T6" fmla="*/ 21 w 143"/>
              <a:gd name="T7" fmla="*/ 159 h 165"/>
              <a:gd name="T8" fmla="*/ 0 w 143"/>
              <a:gd name="T9" fmla="*/ 147 h 165"/>
              <a:gd name="T10" fmla="*/ 0 w 143"/>
              <a:gd name="T11" fmla="*/ 17 h 165"/>
              <a:gd name="T12" fmla="*/ 21 w 143"/>
              <a:gd name="T13" fmla="*/ 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3" h="165">
                <a:moveTo>
                  <a:pt x="21" y="5"/>
                </a:moveTo>
                <a:cubicBezTo>
                  <a:pt x="134" y="70"/>
                  <a:pt x="134" y="70"/>
                  <a:pt x="134" y="70"/>
                </a:cubicBezTo>
                <a:cubicBezTo>
                  <a:pt x="143" y="76"/>
                  <a:pt x="143" y="89"/>
                  <a:pt x="134" y="94"/>
                </a:cubicBezTo>
                <a:cubicBezTo>
                  <a:pt x="21" y="159"/>
                  <a:pt x="21" y="159"/>
                  <a:pt x="21" y="159"/>
                </a:cubicBezTo>
                <a:cubicBezTo>
                  <a:pt x="12" y="165"/>
                  <a:pt x="0" y="158"/>
                  <a:pt x="0" y="14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7"/>
                  <a:pt x="12" y="0"/>
                  <a:pt x="21" y="5"/>
                </a:cubicBezTo>
              </a:path>
            </a:pathLst>
          </a:custGeom>
          <a:solidFill>
            <a:srgbClr val="99CC3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2" name="Freeform 49">
            <a:extLst>
              <a:ext uri="{FF2B5EF4-FFF2-40B4-BE49-F238E27FC236}">
                <a16:creationId xmlns:a16="http://schemas.microsoft.com/office/drawing/2014/main" id="{262CB2C6-C9BC-4C55-B4A2-09FBC32CE6A8}"/>
              </a:ext>
            </a:extLst>
          </p:cNvPr>
          <p:cNvSpPr>
            <a:spLocks/>
          </p:cNvSpPr>
          <p:nvPr userDrawn="1"/>
        </p:nvSpPr>
        <p:spPr bwMode="auto">
          <a:xfrm>
            <a:off x="8698463" y="4304557"/>
            <a:ext cx="179178" cy="206107"/>
          </a:xfrm>
          <a:custGeom>
            <a:avLst/>
            <a:gdLst>
              <a:gd name="T0" fmla="*/ 21 w 143"/>
              <a:gd name="T1" fmla="*/ 5 h 165"/>
              <a:gd name="T2" fmla="*/ 134 w 143"/>
              <a:gd name="T3" fmla="*/ 70 h 165"/>
              <a:gd name="T4" fmla="*/ 134 w 143"/>
              <a:gd name="T5" fmla="*/ 94 h 165"/>
              <a:gd name="T6" fmla="*/ 21 w 143"/>
              <a:gd name="T7" fmla="*/ 159 h 165"/>
              <a:gd name="T8" fmla="*/ 0 w 143"/>
              <a:gd name="T9" fmla="*/ 147 h 165"/>
              <a:gd name="T10" fmla="*/ 0 w 143"/>
              <a:gd name="T11" fmla="*/ 17 h 165"/>
              <a:gd name="T12" fmla="*/ 21 w 143"/>
              <a:gd name="T13" fmla="*/ 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3" h="165">
                <a:moveTo>
                  <a:pt x="21" y="5"/>
                </a:moveTo>
                <a:cubicBezTo>
                  <a:pt x="134" y="70"/>
                  <a:pt x="134" y="70"/>
                  <a:pt x="134" y="70"/>
                </a:cubicBezTo>
                <a:cubicBezTo>
                  <a:pt x="143" y="76"/>
                  <a:pt x="143" y="89"/>
                  <a:pt x="134" y="94"/>
                </a:cubicBezTo>
                <a:cubicBezTo>
                  <a:pt x="21" y="159"/>
                  <a:pt x="21" y="159"/>
                  <a:pt x="21" y="159"/>
                </a:cubicBezTo>
                <a:cubicBezTo>
                  <a:pt x="12" y="165"/>
                  <a:pt x="0" y="158"/>
                  <a:pt x="0" y="14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7"/>
                  <a:pt x="12" y="0"/>
                  <a:pt x="21" y="5"/>
                </a:cubicBezTo>
              </a:path>
            </a:pathLst>
          </a:custGeom>
          <a:solidFill>
            <a:srgbClr val="99CC3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7" name="Imagem 26" descr="Uma imagem contendo Logotipo&#10;&#10;Descrição gerada automaticamente">
            <a:extLst>
              <a:ext uri="{FF2B5EF4-FFF2-40B4-BE49-F238E27FC236}">
                <a16:creationId xmlns:a16="http://schemas.microsoft.com/office/drawing/2014/main" id="{BCFC969A-418B-48FC-9810-CBC025BE57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972" y="5892977"/>
            <a:ext cx="1503435" cy="93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2938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co Assinat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26">
            <a:extLst>
              <a:ext uri="{FF2B5EF4-FFF2-40B4-BE49-F238E27FC236}">
                <a16:creationId xmlns:a16="http://schemas.microsoft.com/office/drawing/2014/main" id="{069C9546-D32D-498B-9EB1-C1A0BF3A30F5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FE063A08-9EC8-4288-966E-DB6324EEEBCC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pic>
        <p:nvPicPr>
          <p:cNvPr id="3" name="Imagem 2" descr="Uma imagem contendo desenho&#10;&#10;Descrição gerada automaticamente">
            <a:extLst>
              <a:ext uri="{FF2B5EF4-FFF2-40B4-BE49-F238E27FC236}">
                <a16:creationId xmlns:a16="http://schemas.microsoft.com/office/drawing/2014/main" id="{B340E30D-4D48-4E64-AF3E-11241E366A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346" y="6208805"/>
            <a:ext cx="1128354" cy="63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143978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o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rma Livre: Forma 44">
            <a:extLst>
              <a:ext uri="{FF2B5EF4-FFF2-40B4-BE49-F238E27FC236}">
                <a16:creationId xmlns:a16="http://schemas.microsoft.com/office/drawing/2014/main" id="{CDE8CD43-D826-4BCD-99DB-40BE23D6ECC1}"/>
              </a:ext>
            </a:extLst>
          </p:cNvPr>
          <p:cNvSpPr/>
          <p:nvPr userDrawn="1"/>
        </p:nvSpPr>
        <p:spPr>
          <a:xfrm>
            <a:off x="0" y="0"/>
            <a:ext cx="10041446" cy="3195386"/>
          </a:xfrm>
          <a:custGeom>
            <a:avLst/>
            <a:gdLst>
              <a:gd name="connsiteX0" fmla="*/ 0 w 10041446"/>
              <a:gd name="connsiteY0" fmla="*/ 0 h 3195386"/>
              <a:gd name="connsiteX1" fmla="*/ 10041446 w 10041446"/>
              <a:gd name="connsiteY1" fmla="*/ 0 h 3195386"/>
              <a:gd name="connsiteX2" fmla="*/ 10004977 w 10041446"/>
              <a:gd name="connsiteY2" fmla="*/ 166441 h 3195386"/>
              <a:gd name="connsiteX3" fmla="*/ 5735155 w 10041446"/>
              <a:gd name="connsiteY3" fmla="*/ 2258029 h 3195386"/>
              <a:gd name="connsiteX4" fmla="*/ 391471 w 10041446"/>
              <a:gd name="connsiteY4" fmla="*/ 2938548 h 3195386"/>
              <a:gd name="connsiteX5" fmla="*/ 0 w 10041446"/>
              <a:gd name="connsiteY5" fmla="*/ 3195386 h 3195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41446" h="3195386">
                <a:moveTo>
                  <a:pt x="0" y="0"/>
                </a:moveTo>
                <a:lnTo>
                  <a:pt x="10041446" y="0"/>
                </a:lnTo>
                <a:lnTo>
                  <a:pt x="10004977" y="166441"/>
                </a:lnTo>
                <a:cubicBezTo>
                  <a:pt x="9582953" y="1714950"/>
                  <a:pt x="8187339" y="2761811"/>
                  <a:pt x="5735155" y="2258029"/>
                </a:cubicBezTo>
                <a:cubicBezTo>
                  <a:pt x="2716524" y="1638066"/>
                  <a:pt x="1463491" y="2185879"/>
                  <a:pt x="391471" y="2938548"/>
                </a:cubicBezTo>
                <a:lnTo>
                  <a:pt x="0" y="319538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76" name="Espaço Reservado para Texto 21">
            <a:extLst>
              <a:ext uri="{FF2B5EF4-FFF2-40B4-BE49-F238E27FC236}">
                <a16:creationId xmlns:a16="http://schemas.microsoft.com/office/drawing/2014/main" id="{BB00E0B0-829A-4EAF-9643-16967EB343BF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 rot="16200000" flipV="1">
            <a:off x="5333151" y="4747683"/>
            <a:ext cx="1498481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7" name="Espaço Reservado para Texto 21">
            <a:extLst>
              <a:ext uri="{FF2B5EF4-FFF2-40B4-BE49-F238E27FC236}">
                <a16:creationId xmlns:a16="http://schemas.microsoft.com/office/drawing/2014/main" id="{51D9047B-3754-4673-BB16-24DBB57FDBBD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 rot="16200000" flipV="1">
            <a:off x="7497231" y="4747683"/>
            <a:ext cx="1498481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8" name="Espaço Reservado para Texto 21">
            <a:extLst>
              <a:ext uri="{FF2B5EF4-FFF2-40B4-BE49-F238E27FC236}">
                <a16:creationId xmlns:a16="http://schemas.microsoft.com/office/drawing/2014/main" id="{51FA1055-8DC2-45DF-92E3-B8C2FF28CEA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 rot="16200000" flipV="1">
            <a:off x="9657501" y="4747683"/>
            <a:ext cx="1498481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9" name="Espaço Reservado para Texto 21">
            <a:extLst>
              <a:ext uri="{FF2B5EF4-FFF2-40B4-BE49-F238E27FC236}">
                <a16:creationId xmlns:a16="http://schemas.microsoft.com/office/drawing/2014/main" id="{6C8AB26E-CD06-46FB-8D03-6448B7840AD4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 rot="16200000" flipV="1">
            <a:off x="3170976" y="4747683"/>
            <a:ext cx="1498481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80" name="Espaço Reservado para Texto 21">
            <a:extLst>
              <a:ext uri="{FF2B5EF4-FFF2-40B4-BE49-F238E27FC236}">
                <a16:creationId xmlns:a16="http://schemas.microsoft.com/office/drawing/2014/main" id="{A45ED1C9-1D50-4B29-84C4-19956C80A2E5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 rot="16200000" flipV="1">
            <a:off x="1018326" y="4747683"/>
            <a:ext cx="1498481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56" name="Espaço Reservado para Texto 21">
            <a:extLst>
              <a:ext uri="{FF2B5EF4-FFF2-40B4-BE49-F238E27FC236}">
                <a16:creationId xmlns:a16="http://schemas.microsoft.com/office/drawing/2014/main" id="{B7226482-4C00-49D8-BEE2-61FD9F8146EB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 rot="10800000" flipV="1">
            <a:off x="1770742" y="3938633"/>
            <a:ext cx="8890000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54" name="Espaço Reservado para Texto 21">
            <a:extLst>
              <a:ext uri="{FF2B5EF4-FFF2-40B4-BE49-F238E27FC236}">
                <a16:creationId xmlns:a16="http://schemas.microsoft.com/office/drawing/2014/main" id="{FF751CBF-065F-460F-A0DF-20C00180FA6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 rot="16200000" flipV="1">
            <a:off x="5060042" y="3075033"/>
            <a:ext cx="2044700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2" name="Título 1">
            <a:extLst>
              <a:ext uri="{FF2B5EF4-FFF2-40B4-BE49-F238E27FC236}">
                <a16:creationId xmlns:a16="http://schemas.microsoft.com/office/drawing/2014/main" id="{7512DEC9-90DD-4686-AFF0-2495AE587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1312" y="993436"/>
            <a:ext cx="4529376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ctr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ORGANOGRAMA</a:t>
            </a:r>
            <a:endParaRPr lang="en-US"/>
          </a:p>
        </p:txBody>
      </p:sp>
      <p:sp>
        <p:nvSpPr>
          <p:cNvPr id="34" name="Espaço Reservado para Texto 21">
            <a:extLst>
              <a:ext uri="{FF2B5EF4-FFF2-40B4-BE49-F238E27FC236}">
                <a16:creationId xmlns:a16="http://schemas.microsoft.com/office/drawing/2014/main" id="{76C5899C-25B2-49AA-9C22-D01FD2EA71C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 rot="10800000" flipV="1">
            <a:off x="5175213" y="2006997"/>
            <a:ext cx="1852908" cy="489060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36" name="Espaço Reservado para Texto 21">
            <a:extLst>
              <a:ext uri="{FF2B5EF4-FFF2-40B4-BE49-F238E27FC236}">
                <a16:creationId xmlns:a16="http://schemas.microsoft.com/office/drawing/2014/main" id="{8C6245AF-B269-45E1-862C-0347A286ECA7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 rot="10800000" flipV="1">
            <a:off x="5333531" y="2862224"/>
            <a:ext cx="1536272" cy="455008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37" name="Espaço Reservado para Texto 21">
            <a:extLst>
              <a:ext uri="{FF2B5EF4-FFF2-40B4-BE49-F238E27FC236}">
                <a16:creationId xmlns:a16="http://schemas.microsoft.com/office/drawing/2014/main" id="{95056BED-8A41-4ED7-BF51-FB5091180D2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 rot="10800000" flipV="1">
            <a:off x="5333531" y="3700424"/>
            <a:ext cx="1536272" cy="455008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38" name="Espaço Reservado para Texto 21">
            <a:extLst>
              <a:ext uri="{FF2B5EF4-FFF2-40B4-BE49-F238E27FC236}">
                <a16:creationId xmlns:a16="http://schemas.microsoft.com/office/drawing/2014/main" id="{3EAAB92F-88B0-4BD9-9296-397AD557F3CD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 rot="10800000" flipV="1">
            <a:off x="3181675" y="3700424"/>
            <a:ext cx="1536272" cy="455008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39" name="Espaço Reservado para Texto 21">
            <a:extLst>
              <a:ext uri="{FF2B5EF4-FFF2-40B4-BE49-F238E27FC236}">
                <a16:creationId xmlns:a16="http://schemas.microsoft.com/office/drawing/2014/main" id="{0787560F-01C6-4322-BD44-04B0A2089043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10800000" flipV="1">
            <a:off x="1029819" y="3700424"/>
            <a:ext cx="1536272" cy="455008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40" name="Espaço Reservado para Texto 21">
            <a:extLst>
              <a:ext uri="{FF2B5EF4-FFF2-40B4-BE49-F238E27FC236}">
                <a16:creationId xmlns:a16="http://schemas.microsoft.com/office/drawing/2014/main" id="{0736957E-C286-4CA4-9663-031DA64C8A5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 rot="10800000" flipV="1">
            <a:off x="7485387" y="3700424"/>
            <a:ext cx="1536272" cy="455008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44" name="Espaço Reservado para Texto 21">
            <a:extLst>
              <a:ext uri="{FF2B5EF4-FFF2-40B4-BE49-F238E27FC236}">
                <a16:creationId xmlns:a16="http://schemas.microsoft.com/office/drawing/2014/main" id="{724E81DA-75C5-4570-92CE-2319AF4D953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 rot="10800000" flipV="1">
            <a:off x="9637244" y="3700424"/>
            <a:ext cx="1536272" cy="455008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57" name="Espaço Reservado para Texto 21">
            <a:extLst>
              <a:ext uri="{FF2B5EF4-FFF2-40B4-BE49-F238E27FC236}">
                <a16:creationId xmlns:a16="http://schemas.microsoft.com/office/drawing/2014/main" id="{4B74A14B-0307-4B5C-AC5B-4F4D8BF1C65E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 rot="10800000" flipV="1">
            <a:off x="5400970" y="45175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58" name="Espaço Reservado para Texto 21">
            <a:extLst>
              <a:ext uri="{FF2B5EF4-FFF2-40B4-BE49-F238E27FC236}">
                <a16:creationId xmlns:a16="http://schemas.microsoft.com/office/drawing/2014/main" id="{A4ABBA24-D1EA-4762-B1EC-3C0FED50D9D0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 rot="10800000" flipV="1">
            <a:off x="3249114" y="45175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59" name="Espaço Reservado para Texto 21">
            <a:extLst>
              <a:ext uri="{FF2B5EF4-FFF2-40B4-BE49-F238E27FC236}">
                <a16:creationId xmlns:a16="http://schemas.microsoft.com/office/drawing/2014/main" id="{9DBFA2AC-5132-4F72-84C8-2003ADB0D4FD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 rot="10800000" flipV="1">
            <a:off x="1097258" y="45175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0" name="Espaço Reservado para Texto 21">
            <a:extLst>
              <a:ext uri="{FF2B5EF4-FFF2-40B4-BE49-F238E27FC236}">
                <a16:creationId xmlns:a16="http://schemas.microsoft.com/office/drawing/2014/main" id="{3F68576D-8455-48FE-8325-BB3748CFDD3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 rot="10800000" flipV="1">
            <a:off x="7552826" y="45175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1" name="Espaço Reservado para Texto 21">
            <a:extLst>
              <a:ext uri="{FF2B5EF4-FFF2-40B4-BE49-F238E27FC236}">
                <a16:creationId xmlns:a16="http://schemas.microsoft.com/office/drawing/2014/main" id="{38ACFD66-0F6A-4962-A7E5-0FC023EA4E3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 rot="10800000" flipV="1">
            <a:off x="9704683" y="45175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2" name="Espaço Reservado para Texto 21">
            <a:extLst>
              <a:ext uri="{FF2B5EF4-FFF2-40B4-BE49-F238E27FC236}">
                <a16:creationId xmlns:a16="http://schemas.microsoft.com/office/drawing/2014/main" id="{E6F6AD38-DC7B-4514-9131-F5AB85E5C2D5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 rot="10800000" flipV="1">
            <a:off x="5400970" y="52160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3" name="Espaço Reservado para Texto 21">
            <a:extLst>
              <a:ext uri="{FF2B5EF4-FFF2-40B4-BE49-F238E27FC236}">
                <a16:creationId xmlns:a16="http://schemas.microsoft.com/office/drawing/2014/main" id="{A17212EF-D2BA-465F-B072-5D274BC12186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 rot="10800000" flipV="1">
            <a:off x="3249114" y="52160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4" name="Espaço Reservado para Texto 21">
            <a:extLst>
              <a:ext uri="{FF2B5EF4-FFF2-40B4-BE49-F238E27FC236}">
                <a16:creationId xmlns:a16="http://schemas.microsoft.com/office/drawing/2014/main" id="{42695110-6AA6-40EC-B522-C02141E30EEA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 rot="10800000" flipV="1">
            <a:off x="1097258" y="52160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7" name="Espaço Reservado para Texto 21">
            <a:extLst>
              <a:ext uri="{FF2B5EF4-FFF2-40B4-BE49-F238E27FC236}">
                <a16:creationId xmlns:a16="http://schemas.microsoft.com/office/drawing/2014/main" id="{9FB3B0AC-F219-40E4-8F73-C2B28D9C52CE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 rot="10800000" flipV="1">
            <a:off x="7552826" y="52160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74" name="Espaço Reservado para Texto 21">
            <a:extLst>
              <a:ext uri="{FF2B5EF4-FFF2-40B4-BE49-F238E27FC236}">
                <a16:creationId xmlns:a16="http://schemas.microsoft.com/office/drawing/2014/main" id="{206E5FEB-88A4-4F11-9745-59F4C4534E95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 rot="10800000" flipV="1">
            <a:off x="9704683" y="5216050"/>
            <a:ext cx="1401392" cy="420956"/>
          </a:xfrm>
          <a:prstGeom prst="roundRect">
            <a:avLst/>
          </a:prstGeom>
          <a:solidFill>
            <a:srgbClr val="8533AD"/>
          </a:solidFill>
        </p:spPr>
        <p:txBody>
          <a:bodyPr wrap="square" lIns="36000" tIns="36000" rIns="36000" bIns="3600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pic>
        <p:nvPicPr>
          <p:cNvPr id="42" name="Imagem 41" descr="Uma imagem contendo desenho&#10;&#10;Descrição gerada automaticamente">
            <a:extLst>
              <a:ext uri="{FF2B5EF4-FFF2-40B4-BE49-F238E27FC236}">
                <a16:creationId xmlns:a16="http://schemas.microsoft.com/office/drawing/2014/main" id="{5F16A99A-DCBB-4A66-A179-B26416FCC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346" y="6208805"/>
            <a:ext cx="1128354" cy="634699"/>
          </a:xfrm>
          <a:prstGeom prst="rect">
            <a:avLst/>
          </a:prstGeom>
        </p:spPr>
      </p:pic>
      <p:sp>
        <p:nvSpPr>
          <p:cNvPr id="35" name="Textfeld 26">
            <a:extLst>
              <a:ext uri="{FF2B5EF4-FFF2-40B4-BE49-F238E27FC236}">
                <a16:creationId xmlns:a16="http://schemas.microsoft.com/office/drawing/2014/main" id="{92AE9FB2-8D32-4A44-9596-733604299CD6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7532B00E-9815-42B4-BCFA-9BAFDD67E99F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6" name="Espaço Reservado para Texto 21">
            <a:extLst>
              <a:ext uri="{FF2B5EF4-FFF2-40B4-BE49-F238E27FC236}">
                <a16:creationId xmlns:a16="http://schemas.microsoft.com/office/drawing/2014/main" id="{5F55F9C2-6681-49D8-938B-052A507BEFF5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>
          <a:xfrm>
            <a:off x="9504350" y="418758"/>
            <a:ext cx="574678" cy="574678"/>
          </a:xfrm>
          <a:prstGeom prst="ellipse">
            <a:avLst/>
          </a:prstGeom>
          <a:gradFill>
            <a:gsLst>
              <a:gs pos="0">
                <a:srgbClr val="FF9900"/>
              </a:gs>
              <a:gs pos="70000">
                <a:srgbClr val="FA6423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389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ogra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orma Livre: Forma 45">
            <a:extLst>
              <a:ext uri="{FF2B5EF4-FFF2-40B4-BE49-F238E27FC236}">
                <a16:creationId xmlns:a16="http://schemas.microsoft.com/office/drawing/2014/main" id="{60195B9B-CFFA-4335-9513-8F923CD7B46C}"/>
              </a:ext>
            </a:extLst>
          </p:cNvPr>
          <p:cNvSpPr/>
          <p:nvPr userDrawn="1"/>
        </p:nvSpPr>
        <p:spPr>
          <a:xfrm>
            <a:off x="0" y="0"/>
            <a:ext cx="10041446" cy="3195386"/>
          </a:xfrm>
          <a:custGeom>
            <a:avLst/>
            <a:gdLst>
              <a:gd name="connsiteX0" fmla="*/ 0 w 10041446"/>
              <a:gd name="connsiteY0" fmla="*/ 0 h 3195386"/>
              <a:gd name="connsiteX1" fmla="*/ 10041446 w 10041446"/>
              <a:gd name="connsiteY1" fmla="*/ 0 h 3195386"/>
              <a:gd name="connsiteX2" fmla="*/ 10004977 w 10041446"/>
              <a:gd name="connsiteY2" fmla="*/ 166441 h 3195386"/>
              <a:gd name="connsiteX3" fmla="*/ 5735155 w 10041446"/>
              <a:gd name="connsiteY3" fmla="*/ 2258029 h 3195386"/>
              <a:gd name="connsiteX4" fmla="*/ 391471 w 10041446"/>
              <a:gd name="connsiteY4" fmla="*/ 2938548 h 3195386"/>
              <a:gd name="connsiteX5" fmla="*/ 0 w 10041446"/>
              <a:gd name="connsiteY5" fmla="*/ 3195386 h 3195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41446" h="3195386">
                <a:moveTo>
                  <a:pt x="0" y="0"/>
                </a:moveTo>
                <a:lnTo>
                  <a:pt x="10041446" y="0"/>
                </a:lnTo>
                <a:lnTo>
                  <a:pt x="10004977" y="166441"/>
                </a:lnTo>
                <a:cubicBezTo>
                  <a:pt x="9582953" y="1714950"/>
                  <a:pt x="8187339" y="2761811"/>
                  <a:pt x="5735155" y="2258029"/>
                </a:cubicBezTo>
                <a:cubicBezTo>
                  <a:pt x="2716524" y="1638066"/>
                  <a:pt x="1463491" y="2185879"/>
                  <a:pt x="391471" y="2938548"/>
                </a:cubicBezTo>
                <a:lnTo>
                  <a:pt x="0" y="319538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48" name="Espaço Reservado para Texto 21">
            <a:extLst>
              <a:ext uri="{FF2B5EF4-FFF2-40B4-BE49-F238E27FC236}">
                <a16:creationId xmlns:a16="http://schemas.microsoft.com/office/drawing/2014/main" id="{87BDA6D2-A974-480C-BD1E-F8865F171D0C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>
          <a:xfrm>
            <a:off x="9504350" y="418758"/>
            <a:ext cx="574678" cy="574678"/>
          </a:xfrm>
          <a:prstGeom prst="ellipse">
            <a:avLst/>
          </a:prstGeom>
          <a:gradFill>
            <a:gsLst>
              <a:gs pos="0">
                <a:srgbClr val="FA6423"/>
              </a:gs>
              <a:gs pos="70000">
                <a:srgbClr val="FF9900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kern="0" dirty="0">
                <a:noFill/>
                <a:latin typeface="Calibri"/>
              </a:defRPr>
            </a:lvl1pPr>
          </a:lstStyle>
          <a:p>
            <a:pPr marL="0" lvl="0" indent="0" algn="ctr" defTabSz="609768">
              <a:buNone/>
            </a:pPr>
            <a:endParaRPr lang="en-US"/>
          </a:p>
        </p:txBody>
      </p:sp>
      <p:sp>
        <p:nvSpPr>
          <p:cNvPr id="76" name="Espaço Reservado para Texto 21">
            <a:extLst>
              <a:ext uri="{FF2B5EF4-FFF2-40B4-BE49-F238E27FC236}">
                <a16:creationId xmlns:a16="http://schemas.microsoft.com/office/drawing/2014/main" id="{BB00E0B0-829A-4EAF-9643-16967EB343BF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 rot="16200000" flipV="1">
            <a:off x="5140292" y="4407141"/>
            <a:ext cx="398298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7" name="Espaço Reservado para Texto 21">
            <a:extLst>
              <a:ext uri="{FF2B5EF4-FFF2-40B4-BE49-F238E27FC236}">
                <a16:creationId xmlns:a16="http://schemas.microsoft.com/office/drawing/2014/main" id="{51D9047B-3754-4673-BB16-24DBB57FDBBD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 rot="16200000" flipV="1">
            <a:off x="7323422" y="4407141"/>
            <a:ext cx="398298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8" name="Espaço Reservado para Texto 21">
            <a:extLst>
              <a:ext uri="{FF2B5EF4-FFF2-40B4-BE49-F238E27FC236}">
                <a16:creationId xmlns:a16="http://schemas.microsoft.com/office/drawing/2014/main" id="{51FA1055-8DC2-45DF-92E3-B8C2FF28CEA8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 rot="16200000" flipV="1">
            <a:off x="9464642" y="4407141"/>
            <a:ext cx="398298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9" name="Espaço Reservado para Texto 21">
            <a:extLst>
              <a:ext uri="{FF2B5EF4-FFF2-40B4-BE49-F238E27FC236}">
                <a16:creationId xmlns:a16="http://schemas.microsoft.com/office/drawing/2014/main" id="{6C8AB26E-CD06-46FB-8D03-6448B7840AD4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 rot="16200000" flipV="1">
            <a:off x="3016217" y="4407141"/>
            <a:ext cx="398298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80" name="Espaço Reservado para Texto 21">
            <a:extLst>
              <a:ext uri="{FF2B5EF4-FFF2-40B4-BE49-F238E27FC236}">
                <a16:creationId xmlns:a16="http://schemas.microsoft.com/office/drawing/2014/main" id="{A45ED1C9-1D50-4B29-84C4-19956C80A2E5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 rot="16200000" flipV="1">
            <a:off x="873092" y="4407141"/>
            <a:ext cx="398298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56" name="Espaço Reservado para Texto 21">
            <a:extLst>
              <a:ext uri="{FF2B5EF4-FFF2-40B4-BE49-F238E27FC236}">
                <a16:creationId xmlns:a16="http://schemas.microsoft.com/office/drawing/2014/main" id="{B7226482-4C00-49D8-BEE2-61FD9F8146EB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 rot="10800000" flipV="1">
            <a:off x="1770742" y="3938633"/>
            <a:ext cx="8890000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72" name="Título 1">
            <a:extLst>
              <a:ext uri="{FF2B5EF4-FFF2-40B4-BE49-F238E27FC236}">
                <a16:creationId xmlns:a16="http://schemas.microsoft.com/office/drawing/2014/main" id="{7512DEC9-90DD-4686-AFF0-2495AE587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1312" y="993436"/>
            <a:ext cx="4529376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ctr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ORGANOGRAMA</a:t>
            </a:r>
            <a:endParaRPr lang="en-US"/>
          </a:p>
        </p:txBody>
      </p:sp>
      <p:sp>
        <p:nvSpPr>
          <p:cNvPr id="37" name="Espaço Reservado para Texto 21">
            <a:extLst>
              <a:ext uri="{FF2B5EF4-FFF2-40B4-BE49-F238E27FC236}">
                <a16:creationId xmlns:a16="http://schemas.microsoft.com/office/drawing/2014/main" id="{95056BED-8A41-4ED7-BF51-FB5091180D2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 rot="10800000" flipV="1">
            <a:off x="5333531" y="3640764"/>
            <a:ext cx="1536272" cy="574328"/>
          </a:xfrm>
          <a:prstGeom prst="roundRect">
            <a:avLst/>
          </a:prstGeom>
          <a:solidFill>
            <a:srgbClr val="660099"/>
          </a:solidFill>
        </p:spPr>
        <p:txBody>
          <a:bodyPr wrap="square" lIns="108000" tIns="36000" rIns="36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38" name="Espaço Reservado para Texto 21">
            <a:extLst>
              <a:ext uri="{FF2B5EF4-FFF2-40B4-BE49-F238E27FC236}">
                <a16:creationId xmlns:a16="http://schemas.microsoft.com/office/drawing/2014/main" id="{3EAAB92F-88B0-4BD9-9296-397AD557F3CD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 rot="10800000" flipV="1">
            <a:off x="3181675" y="3640764"/>
            <a:ext cx="1536272" cy="574328"/>
          </a:xfrm>
          <a:prstGeom prst="roundRect">
            <a:avLst/>
          </a:prstGeom>
          <a:solidFill>
            <a:srgbClr val="660099"/>
          </a:solidFill>
        </p:spPr>
        <p:txBody>
          <a:bodyPr wrap="square" lIns="108000" tIns="36000" rIns="36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39" name="Espaço Reservado para Texto 21">
            <a:extLst>
              <a:ext uri="{FF2B5EF4-FFF2-40B4-BE49-F238E27FC236}">
                <a16:creationId xmlns:a16="http://schemas.microsoft.com/office/drawing/2014/main" id="{0787560F-01C6-4322-BD44-04B0A2089043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 rot="10800000" flipV="1">
            <a:off x="1029819" y="3640764"/>
            <a:ext cx="1536272" cy="574328"/>
          </a:xfrm>
          <a:prstGeom prst="roundRect">
            <a:avLst/>
          </a:prstGeom>
          <a:solidFill>
            <a:srgbClr val="660099"/>
          </a:solidFill>
        </p:spPr>
        <p:txBody>
          <a:bodyPr wrap="square" lIns="108000" tIns="36000" rIns="36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40" name="Espaço Reservado para Texto 21">
            <a:extLst>
              <a:ext uri="{FF2B5EF4-FFF2-40B4-BE49-F238E27FC236}">
                <a16:creationId xmlns:a16="http://schemas.microsoft.com/office/drawing/2014/main" id="{0736957E-C286-4CA4-9663-031DA64C8A5A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 rot="10800000" flipV="1">
            <a:off x="7485387" y="3640764"/>
            <a:ext cx="1536272" cy="574328"/>
          </a:xfrm>
          <a:prstGeom prst="roundRect">
            <a:avLst/>
          </a:prstGeom>
          <a:solidFill>
            <a:srgbClr val="660099"/>
          </a:solidFill>
        </p:spPr>
        <p:txBody>
          <a:bodyPr wrap="square" lIns="108000" tIns="36000" rIns="36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44" name="Espaço Reservado para Texto 21">
            <a:extLst>
              <a:ext uri="{FF2B5EF4-FFF2-40B4-BE49-F238E27FC236}">
                <a16:creationId xmlns:a16="http://schemas.microsoft.com/office/drawing/2014/main" id="{724E81DA-75C5-4570-92CE-2319AF4D9537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 rot="10800000" flipV="1">
            <a:off x="9637244" y="3640764"/>
            <a:ext cx="1536272" cy="574328"/>
          </a:xfrm>
          <a:prstGeom prst="roundRect">
            <a:avLst/>
          </a:prstGeom>
          <a:solidFill>
            <a:srgbClr val="660099"/>
          </a:solidFill>
        </p:spPr>
        <p:txBody>
          <a:bodyPr wrap="square" lIns="108000" tIns="36000" rIns="36000" bIns="3600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57" name="Espaço Reservado para Texto 21">
            <a:extLst>
              <a:ext uri="{FF2B5EF4-FFF2-40B4-BE49-F238E27FC236}">
                <a16:creationId xmlns:a16="http://schemas.microsoft.com/office/drawing/2014/main" id="{4B74A14B-0307-4B5C-AC5B-4F4D8BF1C65E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 rot="10800000" flipV="1">
            <a:off x="6067795" y="5185488"/>
            <a:ext cx="1401392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58" name="Espaço Reservado para Texto 21">
            <a:extLst>
              <a:ext uri="{FF2B5EF4-FFF2-40B4-BE49-F238E27FC236}">
                <a16:creationId xmlns:a16="http://schemas.microsoft.com/office/drawing/2014/main" id="{A4ABBA24-D1EA-4762-B1EC-3C0FED50D9D0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 rot="10800000" flipV="1">
            <a:off x="3915939" y="5185488"/>
            <a:ext cx="1401392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59" name="Espaço Reservado para Texto 21">
            <a:extLst>
              <a:ext uri="{FF2B5EF4-FFF2-40B4-BE49-F238E27FC236}">
                <a16:creationId xmlns:a16="http://schemas.microsoft.com/office/drawing/2014/main" id="{9DBFA2AC-5132-4F72-84C8-2003ADB0D4FD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 rot="10800000" flipV="1">
            <a:off x="1764083" y="5185488"/>
            <a:ext cx="1401392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0" name="Espaço Reservado para Texto 21">
            <a:extLst>
              <a:ext uri="{FF2B5EF4-FFF2-40B4-BE49-F238E27FC236}">
                <a16:creationId xmlns:a16="http://schemas.microsoft.com/office/drawing/2014/main" id="{3F68576D-8455-48FE-8325-BB3748CFDD3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 rot="10800000" flipV="1">
            <a:off x="8219651" y="5185488"/>
            <a:ext cx="1401392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1" name="Espaço Reservado para Texto 21">
            <a:extLst>
              <a:ext uri="{FF2B5EF4-FFF2-40B4-BE49-F238E27FC236}">
                <a16:creationId xmlns:a16="http://schemas.microsoft.com/office/drawing/2014/main" id="{38ACFD66-0F6A-4962-A7E5-0FC023EA4E3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 rot="10800000" flipV="1">
            <a:off x="10371508" y="5185488"/>
            <a:ext cx="1401392" cy="380480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pt-BR"/>
              <a:t> Nome sobrenome </a:t>
            </a:r>
          </a:p>
          <a:p>
            <a:pPr lvl="0"/>
            <a:r>
              <a:rPr lang="pt-BR"/>
              <a:t>Cargo</a:t>
            </a:r>
          </a:p>
        </p:txBody>
      </p:sp>
      <p:sp>
        <p:nvSpPr>
          <p:cNvPr id="65" name="Espaço Reservado para Imagem 8">
            <a:extLst>
              <a:ext uri="{FF2B5EF4-FFF2-40B4-BE49-F238E27FC236}">
                <a16:creationId xmlns:a16="http://schemas.microsoft.com/office/drawing/2014/main" id="{0A93D9A0-3D87-45E7-84C5-E69B7A8A551E}"/>
              </a:ext>
            </a:extLst>
          </p:cNvPr>
          <p:cNvSpPr>
            <a:spLocks noGrp="1"/>
          </p:cNvSpPr>
          <p:nvPr>
            <p:ph type="pic" sz="quarter" idx="117" hasCustomPrompt="1"/>
          </p:nvPr>
        </p:nvSpPr>
        <p:spPr>
          <a:xfrm>
            <a:off x="1244600" y="28702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indent="0" algn="ctr">
              <a:buNone/>
              <a:defRPr sz="700"/>
            </a:lvl1pPr>
          </a:lstStyle>
          <a:p>
            <a:r>
              <a:rPr lang="pt-BR"/>
              <a:t>Insira imagem</a:t>
            </a:r>
          </a:p>
        </p:txBody>
      </p:sp>
      <p:sp>
        <p:nvSpPr>
          <p:cNvPr id="66" name="Espaço Reservado para Imagem 8">
            <a:extLst>
              <a:ext uri="{FF2B5EF4-FFF2-40B4-BE49-F238E27FC236}">
                <a16:creationId xmlns:a16="http://schemas.microsoft.com/office/drawing/2014/main" id="{D8D21A49-06A0-4260-B7AD-4C83B61E3863}"/>
              </a:ext>
            </a:extLst>
          </p:cNvPr>
          <p:cNvSpPr>
            <a:spLocks noGrp="1"/>
          </p:cNvSpPr>
          <p:nvPr>
            <p:ph type="pic" sz="quarter" idx="118" hasCustomPrompt="1"/>
          </p:nvPr>
        </p:nvSpPr>
        <p:spPr>
          <a:xfrm>
            <a:off x="3378200" y="28702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</p:txBody>
      </p:sp>
      <p:sp>
        <p:nvSpPr>
          <p:cNvPr id="68" name="Espaço Reservado para Imagem 8">
            <a:extLst>
              <a:ext uri="{FF2B5EF4-FFF2-40B4-BE49-F238E27FC236}">
                <a16:creationId xmlns:a16="http://schemas.microsoft.com/office/drawing/2014/main" id="{CF6B84BF-D13B-4AA1-BFD1-AC1FB350379F}"/>
              </a:ext>
            </a:extLst>
          </p:cNvPr>
          <p:cNvSpPr>
            <a:spLocks noGrp="1"/>
          </p:cNvSpPr>
          <p:nvPr>
            <p:ph type="pic" sz="quarter" idx="119" hasCustomPrompt="1"/>
          </p:nvPr>
        </p:nvSpPr>
        <p:spPr>
          <a:xfrm>
            <a:off x="5537200" y="28702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</p:txBody>
      </p:sp>
      <p:sp>
        <p:nvSpPr>
          <p:cNvPr id="69" name="Espaço Reservado para Imagem 8">
            <a:extLst>
              <a:ext uri="{FF2B5EF4-FFF2-40B4-BE49-F238E27FC236}">
                <a16:creationId xmlns:a16="http://schemas.microsoft.com/office/drawing/2014/main" id="{271CE2CA-4471-4F25-88FC-30050F8D49EE}"/>
              </a:ext>
            </a:extLst>
          </p:cNvPr>
          <p:cNvSpPr>
            <a:spLocks noGrp="1"/>
          </p:cNvSpPr>
          <p:nvPr>
            <p:ph type="pic" sz="quarter" idx="120" hasCustomPrompt="1"/>
          </p:nvPr>
        </p:nvSpPr>
        <p:spPr>
          <a:xfrm>
            <a:off x="7670800" y="28702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</p:txBody>
      </p:sp>
      <p:sp>
        <p:nvSpPr>
          <p:cNvPr id="70" name="Espaço Reservado para Imagem 8">
            <a:extLst>
              <a:ext uri="{FF2B5EF4-FFF2-40B4-BE49-F238E27FC236}">
                <a16:creationId xmlns:a16="http://schemas.microsoft.com/office/drawing/2014/main" id="{343000DA-7EAA-4566-A2E6-B6E5539EDA7D}"/>
              </a:ext>
            </a:extLst>
          </p:cNvPr>
          <p:cNvSpPr>
            <a:spLocks noGrp="1"/>
          </p:cNvSpPr>
          <p:nvPr>
            <p:ph type="pic" sz="quarter" idx="121" hasCustomPrompt="1"/>
          </p:nvPr>
        </p:nvSpPr>
        <p:spPr>
          <a:xfrm>
            <a:off x="9829800" y="28702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</p:txBody>
      </p:sp>
      <p:sp>
        <p:nvSpPr>
          <p:cNvPr id="75" name="Espaço Reservado para Imagem 8">
            <a:extLst>
              <a:ext uri="{FF2B5EF4-FFF2-40B4-BE49-F238E27FC236}">
                <a16:creationId xmlns:a16="http://schemas.microsoft.com/office/drawing/2014/main" id="{ECB6A18F-619E-4879-B3E4-8C10781AE2E4}"/>
              </a:ext>
            </a:extLst>
          </p:cNvPr>
          <p:cNvSpPr>
            <a:spLocks noGrp="1"/>
          </p:cNvSpPr>
          <p:nvPr>
            <p:ph type="pic" sz="quarter" idx="122" hasCustomPrompt="1"/>
          </p:nvPr>
        </p:nvSpPr>
        <p:spPr>
          <a:xfrm>
            <a:off x="1041400" y="47244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</p:txBody>
      </p:sp>
      <p:sp>
        <p:nvSpPr>
          <p:cNvPr id="82" name="Espaço Reservado para Imagem 8">
            <a:extLst>
              <a:ext uri="{FF2B5EF4-FFF2-40B4-BE49-F238E27FC236}">
                <a16:creationId xmlns:a16="http://schemas.microsoft.com/office/drawing/2014/main" id="{B395E357-7E75-4E14-A8AF-F0D822B3B60C}"/>
              </a:ext>
            </a:extLst>
          </p:cNvPr>
          <p:cNvSpPr>
            <a:spLocks noGrp="1"/>
          </p:cNvSpPr>
          <p:nvPr>
            <p:ph type="pic" sz="quarter" idx="123" hasCustomPrompt="1"/>
          </p:nvPr>
        </p:nvSpPr>
        <p:spPr>
          <a:xfrm>
            <a:off x="3213100" y="47244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</p:txBody>
      </p:sp>
      <p:sp>
        <p:nvSpPr>
          <p:cNvPr id="85" name="Espaço Reservado para Imagem 8">
            <a:extLst>
              <a:ext uri="{FF2B5EF4-FFF2-40B4-BE49-F238E27FC236}">
                <a16:creationId xmlns:a16="http://schemas.microsoft.com/office/drawing/2014/main" id="{B4988E1F-E230-466B-AFAB-C82DD4466FA4}"/>
              </a:ext>
            </a:extLst>
          </p:cNvPr>
          <p:cNvSpPr>
            <a:spLocks noGrp="1"/>
          </p:cNvSpPr>
          <p:nvPr>
            <p:ph type="pic" sz="quarter" idx="124" hasCustomPrompt="1"/>
          </p:nvPr>
        </p:nvSpPr>
        <p:spPr>
          <a:xfrm>
            <a:off x="5359400" y="47244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  <a:p>
            <a:endParaRPr lang="pt-BR"/>
          </a:p>
        </p:txBody>
      </p:sp>
      <p:sp>
        <p:nvSpPr>
          <p:cNvPr id="86" name="Espaço Reservado para Imagem 8">
            <a:extLst>
              <a:ext uri="{FF2B5EF4-FFF2-40B4-BE49-F238E27FC236}">
                <a16:creationId xmlns:a16="http://schemas.microsoft.com/office/drawing/2014/main" id="{0C36825D-EC40-47D6-858D-3229B36F7766}"/>
              </a:ext>
            </a:extLst>
          </p:cNvPr>
          <p:cNvSpPr>
            <a:spLocks noGrp="1"/>
          </p:cNvSpPr>
          <p:nvPr>
            <p:ph type="pic" sz="quarter" idx="125" hasCustomPrompt="1"/>
          </p:nvPr>
        </p:nvSpPr>
        <p:spPr>
          <a:xfrm>
            <a:off x="7543800" y="47244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</p:txBody>
      </p:sp>
      <p:sp>
        <p:nvSpPr>
          <p:cNvPr id="87" name="Espaço Reservado para Imagem 8">
            <a:extLst>
              <a:ext uri="{FF2B5EF4-FFF2-40B4-BE49-F238E27FC236}">
                <a16:creationId xmlns:a16="http://schemas.microsoft.com/office/drawing/2014/main" id="{7B22AC84-65AD-4894-A147-6AE375BDF92E}"/>
              </a:ext>
            </a:extLst>
          </p:cNvPr>
          <p:cNvSpPr>
            <a:spLocks noGrp="1"/>
          </p:cNvSpPr>
          <p:nvPr>
            <p:ph type="pic" sz="quarter" idx="126" hasCustomPrompt="1"/>
          </p:nvPr>
        </p:nvSpPr>
        <p:spPr>
          <a:xfrm>
            <a:off x="9702800" y="4724400"/>
            <a:ext cx="673100" cy="812800"/>
          </a:xfrm>
          <a:prstGeom prst="roundRect">
            <a:avLst/>
          </a:prstGeom>
          <a:ln w="12700">
            <a:solidFill>
              <a:srgbClr val="E7E0F0"/>
            </a:solidFill>
          </a:ln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Insira imagem</a:t>
            </a:r>
          </a:p>
          <a:p>
            <a:endParaRPr lang="pt-BR"/>
          </a:p>
        </p:txBody>
      </p:sp>
      <p:pic>
        <p:nvPicPr>
          <p:cNvPr id="43" name="Imagem 42" descr="Uma imagem contendo desenho&#10;&#10;Descrição gerada automaticamente">
            <a:extLst>
              <a:ext uri="{FF2B5EF4-FFF2-40B4-BE49-F238E27FC236}">
                <a16:creationId xmlns:a16="http://schemas.microsoft.com/office/drawing/2014/main" id="{B96545CA-EF3E-4EF0-BE64-7E041D1C5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346" y="6208805"/>
            <a:ext cx="1128354" cy="634699"/>
          </a:xfrm>
          <a:prstGeom prst="rect">
            <a:avLst/>
          </a:prstGeom>
        </p:spPr>
      </p:pic>
      <p:sp>
        <p:nvSpPr>
          <p:cNvPr id="42" name="Textfeld 26">
            <a:extLst>
              <a:ext uri="{FF2B5EF4-FFF2-40B4-BE49-F238E27FC236}">
                <a16:creationId xmlns:a16="http://schemas.microsoft.com/office/drawing/2014/main" id="{16E7E2EB-E9C3-4D26-9EBE-0C2181FCC817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F0AFCDF0-8F49-45E2-A31A-6BBF8DF0D912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631697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535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Texto 21">
            <a:extLst>
              <a:ext uri="{FF2B5EF4-FFF2-40B4-BE49-F238E27FC236}">
                <a16:creationId xmlns:a16="http://schemas.microsoft.com/office/drawing/2014/main" id="{D0D23039-4933-490F-BD58-B38ADB11264A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10845476" y="3552210"/>
            <a:ext cx="1672454" cy="1668331"/>
          </a:xfrm>
          <a:prstGeom prst="roundRect">
            <a:avLst>
              <a:gd name="adj" fmla="val 2352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7A182D85-3082-4AF7-B5E1-6E3213D31E4D}"/>
              </a:ext>
            </a:extLst>
          </p:cNvPr>
          <p:cNvSpPr/>
          <p:nvPr userDrawn="1"/>
        </p:nvSpPr>
        <p:spPr>
          <a:xfrm>
            <a:off x="0" y="0"/>
            <a:ext cx="10041446" cy="3195386"/>
          </a:xfrm>
          <a:custGeom>
            <a:avLst/>
            <a:gdLst>
              <a:gd name="connsiteX0" fmla="*/ 0 w 10041446"/>
              <a:gd name="connsiteY0" fmla="*/ 0 h 3195386"/>
              <a:gd name="connsiteX1" fmla="*/ 10041446 w 10041446"/>
              <a:gd name="connsiteY1" fmla="*/ 0 h 3195386"/>
              <a:gd name="connsiteX2" fmla="*/ 10004977 w 10041446"/>
              <a:gd name="connsiteY2" fmla="*/ 166441 h 3195386"/>
              <a:gd name="connsiteX3" fmla="*/ 5735155 w 10041446"/>
              <a:gd name="connsiteY3" fmla="*/ 2258029 h 3195386"/>
              <a:gd name="connsiteX4" fmla="*/ 391471 w 10041446"/>
              <a:gd name="connsiteY4" fmla="*/ 2938548 h 3195386"/>
              <a:gd name="connsiteX5" fmla="*/ 0 w 10041446"/>
              <a:gd name="connsiteY5" fmla="*/ 3195386 h 3195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41446" h="3195386">
                <a:moveTo>
                  <a:pt x="0" y="0"/>
                </a:moveTo>
                <a:lnTo>
                  <a:pt x="10041446" y="0"/>
                </a:lnTo>
                <a:lnTo>
                  <a:pt x="10004977" y="166441"/>
                </a:lnTo>
                <a:cubicBezTo>
                  <a:pt x="9582953" y="1714950"/>
                  <a:pt x="8187339" y="2761811"/>
                  <a:pt x="5735155" y="2258029"/>
                </a:cubicBezTo>
                <a:cubicBezTo>
                  <a:pt x="2716524" y="1638066"/>
                  <a:pt x="1463491" y="2185879"/>
                  <a:pt x="391471" y="2938548"/>
                </a:cubicBezTo>
                <a:lnTo>
                  <a:pt x="0" y="319538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9" name="Espaço Reservado para Imagem 39">
            <a:extLst>
              <a:ext uri="{FF2B5EF4-FFF2-40B4-BE49-F238E27FC236}">
                <a16:creationId xmlns:a16="http://schemas.microsoft.com/office/drawing/2014/main" id="{44C23075-3811-4948-BB6C-3CF08A3960C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-567159" y="781166"/>
            <a:ext cx="12228731" cy="3600334"/>
          </a:xfrm>
          <a:prstGeom prst="roundRect">
            <a:avLst>
              <a:gd name="adj" fmla="val 15888"/>
            </a:avLst>
          </a:prstGeom>
          <a:noFill/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19" name="Espaço Reservado para Texto 18">
            <a:extLst>
              <a:ext uri="{FF2B5EF4-FFF2-40B4-BE49-F238E27FC236}">
                <a16:creationId xmlns:a16="http://schemas.microsoft.com/office/drawing/2014/main" id="{BFB2EA16-7733-4E18-A88E-093B1FC39B8F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0845476" y="3552210"/>
            <a:ext cx="822420" cy="834953"/>
          </a:xfrm>
          <a:custGeom>
            <a:avLst/>
            <a:gdLst>
              <a:gd name="connsiteX0" fmla="*/ 392542 w 822420"/>
              <a:gd name="connsiteY0" fmla="*/ 0 h 834953"/>
              <a:gd name="connsiteX1" fmla="*/ 822420 w 822420"/>
              <a:gd name="connsiteY1" fmla="*/ 0 h 834953"/>
              <a:gd name="connsiteX2" fmla="*/ 822420 w 822420"/>
              <a:gd name="connsiteY2" fmla="*/ 442411 h 834953"/>
              <a:gd name="connsiteX3" fmla="*/ 429878 w 822420"/>
              <a:gd name="connsiteY3" fmla="*/ 834953 h 834953"/>
              <a:gd name="connsiteX4" fmla="*/ 0 w 822420"/>
              <a:gd name="connsiteY4" fmla="*/ 834953 h 834953"/>
              <a:gd name="connsiteX5" fmla="*/ 0 w 822420"/>
              <a:gd name="connsiteY5" fmla="*/ 392542 h 834953"/>
              <a:gd name="connsiteX6" fmla="*/ 392542 w 822420"/>
              <a:gd name="connsiteY6" fmla="*/ 0 h 8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2420" h="834953">
                <a:moveTo>
                  <a:pt x="392542" y="0"/>
                </a:moveTo>
                <a:lnTo>
                  <a:pt x="822420" y="0"/>
                </a:lnTo>
                <a:lnTo>
                  <a:pt x="822420" y="442411"/>
                </a:lnTo>
                <a:cubicBezTo>
                  <a:pt x="822420" y="659206"/>
                  <a:pt x="646673" y="834953"/>
                  <a:pt x="429878" y="834953"/>
                </a:cubicBezTo>
                <a:lnTo>
                  <a:pt x="0" y="834953"/>
                </a:lnTo>
                <a:lnTo>
                  <a:pt x="0" y="392542"/>
                </a:lnTo>
                <a:cubicBezTo>
                  <a:pt x="0" y="175747"/>
                  <a:pt x="175747" y="0"/>
                  <a:pt x="392542" y="0"/>
                </a:cubicBezTo>
                <a:close/>
              </a:path>
            </a:pathLst>
          </a:custGeom>
          <a:gradFill>
            <a:gsLst>
              <a:gs pos="0">
                <a:srgbClr val="FF9900"/>
              </a:gs>
              <a:gs pos="70000">
                <a:srgbClr val="FA6423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1" name="Espaço Reservado para Texto 21">
            <a:extLst>
              <a:ext uri="{FF2B5EF4-FFF2-40B4-BE49-F238E27FC236}">
                <a16:creationId xmlns:a16="http://schemas.microsoft.com/office/drawing/2014/main" id="{12041A95-A002-4490-819B-8E84680F5DC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0800000" flipV="1">
            <a:off x="775502" y="4095440"/>
            <a:ext cx="8183302" cy="793236"/>
          </a:xfrm>
          <a:prstGeom prst="roundRect">
            <a:avLst>
              <a:gd name="adj" fmla="val 27437"/>
            </a:avLst>
          </a:prstGeom>
          <a:solidFill>
            <a:srgbClr val="660099">
              <a:alpha val="80000"/>
            </a:srgbClr>
          </a:solidFill>
        </p:spPr>
        <p:txBody>
          <a:bodyPr/>
          <a:lstStyle>
            <a:lvl1pPr>
              <a:defRPr lang="en-US" sz="1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873E0B86-D04E-454E-99DD-D7279B29EC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2612" y="4199233"/>
            <a:ext cx="7518952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A APRESENTAÇÃO</a:t>
            </a:r>
            <a:endParaRPr lang="en-US"/>
          </a:p>
        </p:txBody>
      </p:sp>
      <p:sp>
        <p:nvSpPr>
          <p:cNvPr id="26" name="Espaço Reservado para Texto 21">
            <a:extLst>
              <a:ext uri="{FF2B5EF4-FFF2-40B4-BE49-F238E27FC236}">
                <a16:creationId xmlns:a16="http://schemas.microsoft.com/office/drawing/2014/main" id="{5ECBEF70-D45A-4695-92AD-1FB56948B8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 rot="10800000">
            <a:off x="7784942" y="4797105"/>
            <a:ext cx="708394" cy="183144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27" name="Espaço Reservado para Texto 3">
            <a:extLst>
              <a:ext uri="{FF2B5EF4-FFF2-40B4-BE49-F238E27FC236}">
                <a16:creationId xmlns:a16="http://schemas.microsoft.com/office/drawing/2014/main" id="{AD0E5E19-7F66-4F70-BE34-1586C925B7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92612" y="5038579"/>
            <a:ext cx="5224803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rgbClr val="461E5F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pic>
        <p:nvPicPr>
          <p:cNvPr id="32" name="Imagem 31">
            <a:extLst>
              <a:ext uri="{FF2B5EF4-FFF2-40B4-BE49-F238E27FC236}">
                <a16:creationId xmlns:a16="http://schemas.microsoft.com/office/drawing/2014/main" id="{4BB00FE4-9F00-4D84-800B-A5402BDD42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66" y="5942513"/>
            <a:ext cx="1438892" cy="660292"/>
          </a:xfrm>
          <a:prstGeom prst="rect">
            <a:avLst/>
          </a:prstGeom>
        </p:spPr>
      </p:pic>
      <p:sp>
        <p:nvSpPr>
          <p:cNvPr id="12" name="Espaço Reservado para Texto 21">
            <a:extLst>
              <a:ext uri="{FF2B5EF4-FFF2-40B4-BE49-F238E27FC236}">
                <a16:creationId xmlns:a16="http://schemas.microsoft.com/office/drawing/2014/main" id="{3EF03A8C-EB66-48BC-9270-2AF57F72695E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>
          <a:xfrm>
            <a:off x="9711159" y="299755"/>
            <a:ext cx="330287" cy="330287"/>
          </a:xfrm>
          <a:prstGeom prst="ellipse">
            <a:avLst/>
          </a:prstGeom>
          <a:gradFill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kern="0" dirty="0">
                <a:noFill/>
                <a:latin typeface="Calibri"/>
                <a:ea typeface="+mn-ea"/>
                <a:cs typeface="+mn-cs"/>
              </a:defRPr>
            </a:lvl1pPr>
          </a:lstStyle>
          <a:p>
            <a:pPr marL="0" lvl="0" indent="0" algn="ctr" defTabSz="609768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587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bg>
      <p:bgPr>
        <a:gradFill>
          <a:gsLst>
            <a:gs pos="0">
              <a:srgbClr val="C87FF1"/>
            </a:gs>
            <a:gs pos="74000">
              <a:srgbClr val="660099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ço Reservado para Texto 21">
            <a:extLst>
              <a:ext uri="{FF2B5EF4-FFF2-40B4-BE49-F238E27FC236}">
                <a16:creationId xmlns:a16="http://schemas.microsoft.com/office/drawing/2014/main" id="{D0D23039-4933-490F-BD58-B38ADB11264A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10845476" y="3552210"/>
            <a:ext cx="1672454" cy="1668331"/>
          </a:xfrm>
          <a:prstGeom prst="roundRect">
            <a:avLst>
              <a:gd name="adj" fmla="val 2352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FA6423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13" name="Forma Livre: Forma 12">
            <a:extLst>
              <a:ext uri="{FF2B5EF4-FFF2-40B4-BE49-F238E27FC236}">
                <a16:creationId xmlns:a16="http://schemas.microsoft.com/office/drawing/2014/main" id="{7A182D85-3082-4AF7-B5E1-6E3213D31E4D}"/>
              </a:ext>
            </a:extLst>
          </p:cNvPr>
          <p:cNvSpPr/>
          <p:nvPr userDrawn="1"/>
        </p:nvSpPr>
        <p:spPr>
          <a:xfrm>
            <a:off x="0" y="0"/>
            <a:ext cx="10041446" cy="3195386"/>
          </a:xfrm>
          <a:custGeom>
            <a:avLst/>
            <a:gdLst>
              <a:gd name="connsiteX0" fmla="*/ 0 w 10041446"/>
              <a:gd name="connsiteY0" fmla="*/ 0 h 3195386"/>
              <a:gd name="connsiteX1" fmla="*/ 10041446 w 10041446"/>
              <a:gd name="connsiteY1" fmla="*/ 0 h 3195386"/>
              <a:gd name="connsiteX2" fmla="*/ 10004977 w 10041446"/>
              <a:gd name="connsiteY2" fmla="*/ 166441 h 3195386"/>
              <a:gd name="connsiteX3" fmla="*/ 5735155 w 10041446"/>
              <a:gd name="connsiteY3" fmla="*/ 2258029 h 3195386"/>
              <a:gd name="connsiteX4" fmla="*/ 391471 w 10041446"/>
              <a:gd name="connsiteY4" fmla="*/ 2938548 h 3195386"/>
              <a:gd name="connsiteX5" fmla="*/ 0 w 10041446"/>
              <a:gd name="connsiteY5" fmla="*/ 3195386 h 3195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41446" h="3195386">
                <a:moveTo>
                  <a:pt x="0" y="0"/>
                </a:moveTo>
                <a:lnTo>
                  <a:pt x="10041446" y="0"/>
                </a:lnTo>
                <a:lnTo>
                  <a:pt x="10004977" y="166441"/>
                </a:lnTo>
                <a:cubicBezTo>
                  <a:pt x="9582953" y="1714950"/>
                  <a:pt x="8187339" y="2761811"/>
                  <a:pt x="5735155" y="2258029"/>
                </a:cubicBezTo>
                <a:cubicBezTo>
                  <a:pt x="2716524" y="1638066"/>
                  <a:pt x="1463491" y="2185879"/>
                  <a:pt x="391471" y="2938548"/>
                </a:cubicBezTo>
                <a:lnTo>
                  <a:pt x="0" y="319538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9" name="Espaço Reservado para Imagem 39">
            <a:extLst>
              <a:ext uri="{FF2B5EF4-FFF2-40B4-BE49-F238E27FC236}">
                <a16:creationId xmlns:a16="http://schemas.microsoft.com/office/drawing/2014/main" id="{44C23075-3811-4948-BB6C-3CF08A3960C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-567159" y="781166"/>
            <a:ext cx="12228731" cy="3600334"/>
          </a:xfrm>
          <a:prstGeom prst="roundRect">
            <a:avLst>
              <a:gd name="adj" fmla="val 15888"/>
            </a:avLst>
          </a:prstGeom>
          <a:noFill/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19" name="Espaço Reservado para Texto 18">
            <a:extLst>
              <a:ext uri="{FF2B5EF4-FFF2-40B4-BE49-F238E27FC236}">
                <a16:creationId xmlns:a16="http://schemas.microsoft.com/office/drawing/2014/main" id="{BFB2EA16-7733-4E18-A88E-093B1FC39B8F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0845476" y="3552210"/>
            <a:ext cx="822420" cy="834953"/>
          </a:xfrm>
          <a:custGeom>
            <a:avLst/>
            <a:gdLst>
              <a:gd name="connsiteX0" fmla="*/ 392542 w 822420"/>
              <a:gd name="connsiteY0" fmla="*/ 0 h 834953"/>
              <a:gd name="connsiteX1" fmla="*/ 822420 w 822420"/>
              <a:gd name="connsiteY1" fmla="*/ 0 h 834953"/>
              <a:gd name="connsiteX2" fmla="*/ 822420 w 822420"/>
              <a:gd name="connsiteY2" fmla="*/ 442411 h 834953"/>
              <a:gd name="connsiteX3" fmla="*/ 429878 w 822420"/>
              <a:gd name="connsiteY3" fmla="*/ 834953 h 834953"/>
              <a:gd name="connsiteX4" fmla="*/ 0 w 822420"/>
              <a:gd name="connsiteY4" fmla="*/ 834953 h 834953"/>
              <a:gd name="connsiteX5" fmla="*/ 0 w 822420"/>
              <a:gd name="connsiteY5" fmla="*/ 392542 h 834953"/>
              <a:gd name="connsiteX6" fmla="*/ 392542 w 822420"/>
              <a:gd name="connsiteY6" fmla="*/ 0 h 8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2420" h="834953">
                <a:moveTo>
                  <a:pt x="392542" y="0"/>
                </a:moveTo>
                <a:lnTo>
                  <a:pt x="822420" y="0"/>
                </a:lnTo>
                <a:lnTo>
                  <a:pt x="822420" y="442411"/>
                </a:lnTo>
                <a:cubicBezTo>
                  <a:pt x="822420" y="659206"/>
                  <a:pt x="646673" y="834953"/>
                  <a:pt x="429878" y="834953"/>
                </a:cubicBezTo>
                <a:lnTo>
                  <a:pt x="0" y="834953"/>
                </a:lnTo>
                <a:lnTo>
                  <a:pt x="0" y="392542"/>
                </a:lnTo>
                <a:cubicBezTo>
                  <a:pt x="0" y="175747"/>
                  <a:pt x="175747" y="0"/>
                  <a:pt x="392542" y="0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14" name="Espaço Reservado para Texto 21">
            <a:extLst>
              <a:ext uri="{FF2B5EF4-FFF2-40B4-BE49-F238E27FC236}">
                <a16:creationId xmlns:a16="http://schemas.microsoft.com/office/drawing/2014/main" id="{168E859C-719A-42A7-B09D-CD4E7F651679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>
          <a:xfrm>
            <a:off x="9711159" y="299755"/>
            <a:ext cx="330287" cy="330287"/>
          </a:xfrm>
          <a:prstGeom prst="ellipse">
            <a:avLst/>
          </a:prstGeom>
          <a:gradFill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" kern="0" dirty="0">
                <a:noFill/>
                <a:latin typeface="Calibri"/>
                <a:ea typeface="+mn-ea"/>
                <a:cs typeface="+mn-cs"/>
              </a:defRPr>
            </a:lvl1pPr>
          </a:lstStyle>
          <a:p>
            <a:pPr marL="0" lvl="0" indent="0" algn="ctr" defTabSz="609768">
              <a:buNone/>
            </a:pPr>
            <a:endParaRPr lang="en-US"/>
          </a:p>
        </p:txBody>
      </p:sp>
      <p:sp>
        <p:nvSpPr>
          <p:cNvPr id="21" name="Espaço Reservado para Texto 21">
            <a:extLst>
              <a:ext uri="{FF2B5EF4-FFF2-40B4-BE49-F238E27FC236}">
                <a16:creationId xmlns:a16="http://schemas.microsoft.com/office/drawing/2014/main" id="{12041A95-A002-4490-819B-8E84680F5DC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0800000" flipV="1">
            <a:off x="775502" y="4095440"/>
            <a:ext cx="8194878" cy="793236"/>
          </a:xfrm>
          <a:prstGeom prst="roundRect">
            <a:avLst>
              <a:gd name="adj" fmla="val 27437"/>
            </a:avLst>
          </a:prstGeom>
          <a:solidFill>
            <a:schemeClr val="bg1">
              <a:alpha val="80000"/>
            </a:schemeClr>
          </a:solidFill>
        </p:spPr>
        <p:txBody>
          <a:bodyPr/>
          <a:lstStyle>
            <a:lvl1pPr>
              <a:defRPr lang="en-US" sz="1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873E0B86-D04E-454E-99DD-D7279B29EC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2612" y="4199233"/>
            <a:ext cx="7518952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rgbClr val="461E5F"/>
                </a:solidFill>
              </a:defRPr>
            </a:lvl1pPr>
          </a:lstStyle>
          <a:p>
            <a:r>
              <a:rPr lang="pt-BR"/>
              <a:t>TÍTULO DA APRESENTAÇÃO</a:t>
            </a:r>
            <a:endParaRPr lang="en-US"/>
          </a:p>
        </p:txBody>
      </p:sp>
      <p:sp>
        <p:nvSpPr>
          <p:cNvPr id="26" name="Espaço Reservado para Texto 21">
            <a:extLst>
              <a:ext uri="{FF2B5EF4-FFF2-40B4-BE49-F238E27FC236}">
                <a16:creationId xmlns:a16="http://schemas.microsoft.com/office/drawing/2014/main" id="{5ECBEF70-D45A-4695-92AD-1FB56948B8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 rot="10800000">
            <a:off x="7784942" y="4797105"/>
            <a:ext cx="708394" cy="183144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27" name="Espaço Reservado para Texto 3">
            <a:extLst>
              <a:ext uri="{FF2B5EF4-FFF2-40B4-BE49-F238E27FC236}">
                <a16:creationId xmlns:a16="http://schemas.microsoft.com/office/drawing/2014/main" id="{AD0E5E19-7F66-4F70-BE34-1586C925B7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92612" y="5038579"/>
            <a:ext cx="5224803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0930C02-2DFB-40AC-8E6F-E510C1899D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166" y="5942513"/>
            <a:ext cx="1438892" cy="660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289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pa">
    <p:bg>
      <p:bgPr>
        <a:gradFill>
          <a:gsLst>
            <a:gs pos="0">
              <a:srgbClr val="C87FF1"/>
            </a:gs>
            <a:gs pos="74000">
              <a:srgbClr val="660099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Imagem 39">
            <a:extLst>
              <a:ext uri="{FF2B5EF4-FFF2-40B4-BE49-F238E27FC236}">
                <a16:creationId xmlns:a16="http://schemas.microsoft.com/office/drawing/2014/main" id="{44C23075-3811-4948-BB6C-3CF08A3960C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noFill/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>
                <a:solidFill>
                  <a:schemeClr val="bg1"/>
                </a:solidFill>
              </a:defRPr>
            </a:lvl1pPr>
          </a:lstStyle>
          <a:p>
            <a:endParaRPr lang="pt-BR"/>
          </a:p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20" name="Espaço Reservado para Texto 21">
            <a:extLst>
              <a:ext uri="{FF2B5EF4-FFF2-40B4-BE49-F238E27FC236}">
                <a16:creationId xmlns:a16="http://schemas.microsoft.com/office/drawing/2014/main" id="{D0D23039-4933-490F-BD58-B38ADB11264A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8526494" y="4440367"/>
            <a:ext cx="887771" cy="885583"/>
          </a:xfrm>
          <a:prstGeom prst="roundRect">
            <a:avLst>
              <a:gd name="adj" fmla="val 2352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FA6423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19" name="Espaço Reservado para Texto 18">
            <a:extLst>
              <a:ext uri="{FF2B5EF4-FFF2-40B4-BE49-F238E27FC236}">
                <a16:creationId xmlns:a16="http://schemas.microsoft.com/office/drawing/2014/main" id="{BFB2EA16-7733-4E18-A88E-093B1FC39B8F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8526494" y="4438958"/>
            <a:ext cx="443886" cy="450651"/>
          </a:xfrm>
          <a:custGeom>
            <a:avLst/>
            <a:gdLst>
              <a:gd name="connsiteX0" fmla="*/ 392542 w 822420"/>
              <a:gd name="connsiteY0" fmla="*/ 0 h 834953"/>
              <a:gd name="connsiteX1" fmla="*/ 822420 w 822420"/>
              <a:gd name="connsiteY1" fmla="*/ 0 h 834953"/>
              <a:gd name="connsiteX2" fmla="*/ 822420 w 822420"/>
              <a:gd name="connsiteY2" fmla="*/ 442411 h 834953"/>
              <a:gd name="connsiteX3" fmla="*/ 429878 w 822420"/>
              <a:gd name="connsiteY3" fmla="*/ 834953 h 834953"/>
              <a:gd name="connsiteX4" fmla="*/ 0 w 822420"/>
              <a:gd name="connsiteY4" fmla="*/ 834953 h 834953"/>
              <a:gd name="connsiteX5" fmla="*/ 0 w 822420"/>
              <a:gd name="connsiteY5" fmla="*/ 392542 h 834953"/>
              <a:gd name="connsiteX6" fmla="*/ 392542 w 822420"/>
              <a:gd name="connsiteY6" fmla="*/ 0 h 834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2420" h="834953">
                <a:moveTo>
                  <a:pt x="392542" y="0"/>
                </a:moveTo>
                <a:lnTo>
                  <a:pt x="822420" y="0"/>
                </a:lnTo>
                <a:lnTo>
                  <a:pt x="822420" y="442411"/>
                </a:lnTo>
                <a:cubicBezTo>
                  <a:pt x="822420" y="659206"/>
                  <a:pt x="646673" y="834953"/>
                  <a:pt x="429878" y="834953"/>
                </a:cubicBezTo>
                <a:lnTo>
                  <a:pt x="0" y="834953"/>
                </a:lnTo>
                <a:lnTo>
                  <a:pt x="0" y="392542"/>
                </a:lnTo>
                <a:cubicBezTo>
                  <a:pt x="0" y="175747"/>
                  <a:pt x="175747" y="0"/>
                  <a:pt x="392542" y="0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1" name="Espaço Reservado para Texto 21">
            <a:extLst>
              <a:ext uri="{FF2B5EF4-FFF2-40B4-BE49-F238E27FC236}">
                <a16:creationId xmlns:a16="http://schemas.microsoft.com/office/drawing/2014/main" id="{12041A95-A002-4490-819B-8E84680F5DC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0800000" flipV="1">
            <a:off x="775502" y="4095440"/>
            <a:ext cx="8194878" cy="793236"/>
          </a:xfrm>
          <a:prstGeom prst="roundRect">
            <a:avLst>
              <a:gd name="adj" fmla="val 27437"/>
            </a:avLst>
          </a:prstGeom>
          <a:solidFill>
            <a:schemeClr val="bg1">
              <a:alpha val="80000"/>
            </a:schemeClr>
          </a:solidFill>
        </p:spPr>
        <p:txBody>
          <a:bodyPr/>
          <a:lstStyle>
            <a:lvl1pPr>
              <a:defRPr lang="en-US" sz="1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26" name="Espaço Reservado para Texto 21">
            <a:extLst>
              <a:ext uri="{FF2B5EF4-FFF2-40B4-BE49-F238E27FC236}">
                <a16:creationId xmlns:a16="http://schemas.microsoft.com/office/drawing/2014/main" id="{5ECBEF70-D45A-4695-92AD-1FB56948B8C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 rot="10800000">
            <a:off x="953347" y="4015157"/>
            <a:ext cx="708394" cy="183144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27" name="Espaço Reservado para Texto 3">
            <a:extLst>
              <a:ext uri="{FF2B5EF4-FFF2-40B4-BE49-F238E27FC236}">
                <a16:creationId xmlns:a16="http://schemas.microsoft.com/office/drawing/2014/main" id="{AD0E5E19-7F66-4F70-BE34-1586C925B7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92612" y="5038579"/>
            <a:ext cx="5224803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873E0B86-D04E-454E-99DD-D7279B29EC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2612" y="4199233"/>
            <a:ext cx="7518952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rgbClr val="461E5F"/>
                </a:solidFill>
              </a:defRPr>
            </a:lvl1pPr>
          </a:lstStyle>
          <a:p>
            <a:r>
              <a:rPr lang="pt-BR"/>
              <a:t>TÍTULO DA APRESENTAÇÃ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885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Espaço Reservado para Texto 21">
            <a:extLst>
              <a:ext uri="{FF2B5EF4-FFF2-40B4-BE49-F238E27FC236}">
                <a16:creationId xmlns:a16="http://schemas.microsoft.com/office/drawing/2014/main" id="{52DA4E94-2070-44AC-BDB8-277A3177A055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>
          <a:xfrm>
            <a:off x="-196772" y="377083"/>
            <a:ext cx="12085481" cy="807442"/>
          </a:xfrm>
          <a:prstGeom prst="roundRect">
            <a:avLst>
              <a:gd name="adj" fmla="val 24315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6" name="Espaço Reservado para Texto 21">
            <a:extLst>
              <a:ext uri="{FF2B5EF4-FFF2-40B4-BE49-F238E27FC236}">
                <a16:creationId xmlns:a16="http://schemas.microsoft.com/office/drawing/2014/main" id="{9071FB8B-DD99-4635-86AC-7E9DF25C0252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1487397" y="-300922"/>
            <a:ext cx="1076598" cy="1073943"/>
          </a:xfrm>
          <a:prstGeom prst="roundRect">
            <a:avLst>
              <a:gd name="adj" fmla="val 3319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8DB43C3B-4395-4772-8D68-CB7D3AAC30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358" y="533971"/>
            <a:ext cx="9861182" cy="650554"/>
          </a:xfrm>
          <a:prstGeom prst="rect">
            <a:avLst/>
          </a:prstGeom>
          <a:noFill/>
        </p:spPr>
        <p:txBody>
          <a:bodyPr wrap="square" lIns="36000" tIns="36000" rIns="36000" bIns="36000">
            <a:spAutoFit/>
          </a:bodyPr>
          <a:lstStyle>
            <a:lvl1pPr>
              <a:lnSpc>
                <a:spcPct val="85000"/>
              </a:lnSpc>
              <a:defRPr b="1" i="0">
                <a:solidFill>
                  <a:srgbClr val="660099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E6CF667A-72B6-4DAF-A102-23436E0298E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7465" y="1242033"/>
            <a:ext cx="9864340" cy="29430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>
              <a:buNone/>
              <a:defRPr sz="1600" b="0" spc="0" baseline="0">
                <a:solidFill>
                  <a:srgbClr val="2E2E2E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14" name="Textfeld 26">
            <a:extLst>
              <a:ext uri="{FF2B5EF4-FFF2-40B4-BE49-F238E27FC236}">
                <a16:creationId xmlns:a16="http://schemas.microsoft.com/office/drawing/2014/main" id="{2654CBBA-84BE-4DC0-8284-AE651F3418D7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D9F9D54B-C727-4876-A8EB-2D2929896668}"/>
              </a:ext>
            </a:extLst>
          </p:cNvPr>
          <p:cNvSpPr txBox="1"/>
          <p:nvPr userDrawn="1"/>
        </p:nvSpPr>
        <p:spPr>
          <a:xfrm>
            <a:off x="114300" y="6489373"/>
            <a:ext cx="15512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7" name="Espaço Reservado para Texto 26">
            <a:extLst>
              <a:ext uri="{FF2B5EF4-FFF2-40B4-BE49-F238E27FC236}">
                <a16:creationId xmlns:a16="http://schemas.microsoft.com/office/drawing/2014/main" id="{FA69441D-7AE3-4E30-BCFE-C2EBCD0E6A74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>
          <a:xfrm rot="10800000">
            <a:off x="11487397" y="377082"/>
            <a:ext cx="401312" cy="395937"/>
          </a:xfrm>
          <a:custGeom>
            <a:avLst/>
            <a:gdLst>
              <a:gd name="connsiteX0" fmla="*/ 0 w 563737"/>
              <a:gd name="connsiteY0" fmla="*/ 0 h 545821"/>
              <a:gd name="connsiteX1" fmla="*/ 76718 w 563737"/>
              <a:gd name="connsiteY1" fmla="*/ 0 h 545821"/>
              <a:gd name="connsiteX2" fmla="*/ 563737 w 563737"/>
              <a:gd name="connsiteY2" fmla="*/ 487019 h 545821"/>
              <a:gd name="connsiteX3" fmla="*/ 563737 w 563737"/>
              <a:gd name="connsiteY3" fmla="*/ 545821 h 545821"/>
              <a:gd name="connsiteX4" fmla="*/ 293456 w 563737"/>
              <a:gd name="connsiteY4" fmla="*/ 545821 h 545821"/>
              <a:gd name="connsiteX5" fmla="*/ 0 w 563737"/>
              <a:gd name="connsiteY5" fmla="*/ 252365 h 545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3737" h="545821">
                <a:moveTo>
                  <a:pt x="0" y="0"/>
                </a:moveTo>
                <a:lnTo>
                  <a:pt x="76718" y="0"/>
                </a:lnTo>
                <a:cubicBezTo>
                  <a:pt x="345691" y="0"/>
                  <a:pt x="563737" y="218046"/>
                  <a:pt x="563737" y="487019"/>
                </a:cubicBezTo>
                <a:lnTo>
                  <a:pt x="563737" y="545821"/>
                </a:lnTo>
                <a:lnTo>
                  <a:pt x="293456" y="545821"/>
                </a:lnTo>
                <a:cubicBezTo>
                  <a:pt x="131385" y="545821"/>
                  <a:pt x="0" y="414436"/>
                  <a:pt x="0" y="252365"/>
                </a:cubicBezTo>
                <a:close/>
              </a:path>
            </a:pathLst>
          </a:cu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pic>
        <p:nvPicPr>
          <p:cNvPr id="10" name="Imagem 9" descr="Uma imagem contendo Logotipo&#10;&#10;Descrição gerada automaticamente">
            <a:extLst>
              <a:ext uri="{FF2B5EF4-FFF2-40B4-BE49-F238E27FC236}">
                <a16:creationId xmlns:a16="http://schemas.microsoft.com/office/drawing/2014/main" id="{1EE60034-8666-4375-BC7B-BA84A7A521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972" y="5892977"/>
            <a:ext cx="1503435" cy="93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447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orma Livre: Forma 38">
            <a:extLst>
              <a:ext uri="{FF2B5EF4-FFF2-40B4-BE49-F238E27FC236}">
                <a16:creationId xmlns:a16="http://schemas.microsoft.com/office/drawing/2014/main" id="{89CFC3F2-D108-454E-87CC-8247F6B3D23C}"/>
              </a:ext>
            </a:extLst>
          </p:cNvPr>
          <p:cNvSpPr/>
          <p:nvPr userDrawn="1"/>
        </p:nvSpPr>
        <p:spPr>
          <a:xfrm>
            <a:off x="0" y="0"/>
            <a:ext cx="5919832" cy="6858000"/>
          </a:xfrm>
          <a:custGeom>
            <a:avLst/>
            <a:gdLst>
              <a:gd name="connsiteX0" fmla="*/ 0 w 5919832"/>
              <a:gd name="connsiteY0" fmla="*/ 0 h 6858000"/>
              <a:gd name="connsiteX1" fmla="*/ 3017505 w 5919832"/>
              <a:gd name="connsiteY1" fmla="*/ 0 h 6858000"/>
              <a:gd name="connsiteX2" fmla="*/ 3065723 w 5919832"/>
              <a:gd name="connsiteY2" fmla="*/ 84848 h 6858000"/>
              <a:gd name="connsiteX3" fmla="*/ 3363509 w 5919832"/>
              <a:gd name="connsiteY3" fmla="*/ 1391233 h 6858000"/>
              <a:gd name="connsiteX4" fmla="*/ 4378586 w 5919832"/>
              <a:gd name="connsiteY4" fmla="*/ 4621380 h 6858000"/>
              <a:gd name="connsiteX5" fmla="*/ 5916020 w 5919832"/>
              <a:gd name="connsiteY5" fmla="*/ 6826406 h 6858000"/>
              <a:gd name="connsiteX6" fmla="*/ 5919832 w 5919832"/>
              <a:gd name="connsiteY6" fmla="*/ 6858000 h 6858000"/>
              <a:gd name="connsiteX7" fmla="*/ 0 w 5919832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19832" h="6858000">
                <a:moveTo>
                  <a:pt x="0" y="0"/>
                </a:moveTo>
                <a:lnTo>
                  <a:pt x="3017505" y="0"/>
                </a:lnTo>
                <a:lnTo>
                  <a:pt x="3065723" y="84848"/>
                </a:lnTo>
                <a:cubicBezTo>
                  <a:pt x="3262362" y="464230"/>
                  <a:pt x="3351845" y="917593"/>
                  <a:pt x="3363509" y="1391233"/>
                </a:cubicBezTo>
                <a:cubicBezTo>
                  <a:pt x="3383081" y="2178807"/>
                  <a:pt x="3042687" y="3838661"/>
                  <a:pt x="4378586" y="4621380"/>
                </a:cubicBezTo>
                <a:cubicBezTo>
                  <a:pt x="5299307" y="5160860"/>
                  <a:pt x="5783514" y="5972487"/>
                  <a:pt x="5916020" y="6826406"/>
                </a:cubicBezTo>
                <a:lnTo>
                  <a:pt x="591983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36" name="Espaço Reservado para Texto 21">
            <a:extLst>
              <a:ext uri="{FF2B5EF4-FFF2-40B4-BE49-F238E27FC236}">
                <a16:creationId xmlns:a16="http://schemas.microsoft.com/office/drawing/2014/main" id="{9684D4CE-5548-4D80-9018-423EA68CAF9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 rot="10800000">
            <a:off x="10674306" y="1908560"/>
            <a:ext cx="708394" cy="183144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3" name="Espaço Reservado para Imagem 39">
            <a:extLst>
              <a:ext uri="{FF2B5EF4-FFF2-40B4-BE49-F238E27FC236}">
                <a16:creationId xmlns:a16="http://schemas.microsoft.com/office/drawing/2014/main" id="{C0753624-816D-42D6-9B90-98DAA916E66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82906" y="486651"/>
            <a:ext cx="5340523" cy="5884699"/>
          </a:xfrm>
          <a:prstGeom prst="roundRect">
            <a:avLst>
              <a:gd name="adj" fmla="val 13959"/>
            </a:avLst>
          </a:prstGeom>
          <a:noFill/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43453CE-751A-44FA-90A4-2BBB8EEE7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5057" y="1441226"/>
            <a:ext cx="5192485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rgbClr val="660099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5" name="Espaço Reservado para Texto 3">
            <a:extLst>
              <a:ext uri="{FF2B5EF4-FFF2-40B4-BE49-F238E27FC236}">
                <a16:creationId xmlns:a16="http://schemas.microsoft.com/office/drawing/2014/main" id="{516F9C08-2C97-4CAE-970E-7116DECAF9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21449" y="2058462"/>
            <a:ext cx="5224803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36758578-286C-4CEF-9B0C-40FFD4D2BE2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21449" y="2697091"/>
            <a:ext cx="5220608" cy="873504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6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pulvinar ultricies, purus lectus malesuada libero, sit amet commodo magna eros quis urna.</a:t>
            </a:r>
          </a:p>
        </p:txBody>
      </p:sp>
      <p:sp>
        <p:nvSpPr>
          <p:cNvPr id="7" name="Espaço Reservado para Texto 3">
            <a:extLst>
              <a:ext uri="{FF2B5EF4-FFF2-40B4-BE49-F238E27FC236}">
                <a16:creationId xmlns:a16="http://schemas.microsoft.com/office/drawing/2014/main" id="{D79568CC-5F57-4CA8-B508-8A00218405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21450" y="4024838"/>
            <a:ext cx="3464380" cy="159985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174625" indent="-174625" algn="l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>
                <a:srgbClr val="FF9900"/>
              </a:buClr>
              <a:buFont typeface="Arial" panose="020B0604020202020204" pitchFamily="34" charset="0"/>
              <a:buChar char="_"/>
              <a:defRPr sz="16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</a:t>
            </a:r>
          </a:p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</a:t>
            </a:r>
          </a:p>
          <a:p>
            <a:pPr lvl="0"/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</a:t>
            </a:r>
          </a:p>
        </p:txBody>
      </p:sp>
      <p:pic>
        <p:nvPicPr>
          <p:cNvPr id="16" name="Imagem 15" descr="Uma imagem contendo desenho&#10;&#10;Descrição gerada automaticamente">
            <a:extLst>
              <a:ext uri="{FF2B5EF4-FFF2-40B4-BE49-F238E27FC236}">
                <a16:creationId xmlns:a16="http://schemas.microsoft.com/office/drawing/2014/main" id="{92A342AD-7897-4758-A68A-AFBF7A062B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19" name="Textfeld 26">
            <a:extLst>
              <a:ext uri="{FF2B5EF4-FFF2-40B4-BE49-F238E27FC236}">
                <a16:creationId xmlns:a16="http://schemas.microsoft.com/office/drawing/2014/main" id="{AEF8DE80-C7C8-4D37-BA2E-C822826C5EA2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21" name="Espaço Reservado para Texto 21">
            <a:extLst>
              <a:ext uri="{FF2B5EF4-FFF2-40B4-BE49-F238E27FC236}">
                <a16:creationId xmlns:a16="http://schemas.microsoft.com/office/drawing/2014/main" id="{86F86B72-6B13-48DC-961C-32CABB46BD87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5876925" y="1056611"/>
            <a:ext cx="384615" cy="384615"/>
          </a:xfrm>
          <a:prstGeom prst="ellipse">
            <a:avLst/>
          </a:prstGeom>
          <a:gradFill>
            <a:gsLst>
              <a:gs pos="0">
                <a:srgbClr val="C87FF1"/>
              </a:gs>
              <a:gs pos="70000">
                <a:srgbClr val="660099"/>
              </a:gs>
            </a:gsLst>
            <a:lin ang="2700000" scaled="1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22" name="Espaço Reservado para Texto 21">
            <a:extLst>
              <a:ext uri="{FF2B5EF4-FFF2-40B4-BE49-F238E27FC236}">
                <a16:creationId xmlns:a16="http://schemas.microsoft.com/office/drawing/2014/main" id="{399FBE44-7BF1-4A24-B1AD-18DA15913575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-227527" y="5538961"/>
            <a:ext cx="1674362" cy="1670234"/>
          </a:xfrm>
          <a:prstGeom prst="roundRect">
            <a:avLst>
              <a:gd name="adj" fmla="val 2352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0" name="Espaço Reservado para Texto 29">
            <a:extLst>
              <a:ext uri="{FF2B5EF4-FFF2-40B4-BE49-F238E27FC236}">
                <a16:creationId xmlns:a16="http://schemas.microsoft.com/office/drawing/2014/main" id="{64A8F9BF-DF00-4AF5-9BC7-1F091035570B}"/>
              </a:ext>
            </a:extLst>
          </p:cNvPr>
          <p:cNvSpPr>
            <a:spLocks noGrp="1"/>
          </p:cNvSpPr>
          <p:nvPr>
            <p:ph type="body" sz="quarter" idx="106"/>
          </p:nvPr>
        </p:nvSpPr>
        <p:spPr>
          <a:xfrm>
            <a:off x="682907" y="5538961"/>
            <a:ext cx="763928" cy="832388"/>
          </a:xfrm>
          <a:custGeom>
            <a:avLst/>
            <a:gdLst>
              <a:gd name="connsiteX0" fmla="*/ 0 w 763928"/>
              <a:gd name="connsiteY0" fmla="*/ 0 h 832388"/>
              <a:gd name="connsiteX1" fmla="*/ 370939 w 763928"/>
              <a:gd name="connsiteY1" fmla="*/ 0 h 832388"/>
              <a:gd name="connsiteX2" fmla="*/ 763928 w 763928"/>
              <a:gd name="connsiteY2" fmla="*/ 392989 h 832388"/>
              <a:gd name="connsiteX3" fmla="*/ 763928 w 763928"/>
              <a:gd name="connsiteY3" fmla="*/ 832388 h 832388"/>
              <a:gd name="connsiteX4" fmla="*/ 684839 w 763928"/>
              <a:gd name="connsiteY4" fmla="*/ 832388 h 832388"/>
              <a:gd name="connsiteX5" fmla="*/ 0 w 763928"/>
              <a:gd name="connsiteY5" fmla="*/ 147549 h 832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3928" h="832388">
                <a:moveTo>
                  <a:pt x="0" y="0"/>
                </a:moveTo>
                <a:lnTo>
                  <a:pt x="370939" y="0"/>
                </a:lnTo>
                <a:cubicBezTo>
                  <a:pt x="587981" y="0"/>
                  <a:pt x="763928" y="175947"/>
                  <a:pt x="763928" y="392989"/>
                </a:cubicBezTo>
                <a:lnTo>
                  <a:pt x="763928" y="832388"/>
                </a:lnTo>
                <a:lnTo>
                  <a:pt x="684839" y="832388"/>
                </a:lnTo>
                <a:cubicBezTo>
                  <a:pt x="306613" y="832388"/>
                  <a:pt x="0" y="525775"/>
                  <a:pt x="0" y="147549"/>
                </a:cubicBezTo>
                <a:close/>
              </a:path>
            </a:pathLst>
          </a:cu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7" name="Espaço Reservado para Texto 21">
            <a:extLst>
              <a:ext uri="{FF2B5EF4-FFF2-40B4-BE49-F238E27FC236}">
                <a16:creationId xmlns:a16="http://schemas.microsoft.com/office/drawing/2014/main" id="{E282B0AC-628D-4737-A0DD-DD2DBBA222AE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 rot="10800000" flipV="1">
            <a:off x="6535057" y="3849468"/>
            <a:ext cx="5040000" cy="61794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8C9259F6-B657-4D22-924A-4EBB68AD550B}"/>
              </a:ext>
            </a:extLst>
          </p:cNvPr>
          <p:cNvSpPr txBox="1"/>
          <p:nvPr userDrawn="1"/>
        </p:nvSpPr>
        <p:spPr>
          <a:xfrm>
            <a:off x="114300" y="6489373"/>
            <a:ext cx="12180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63134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s + 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Espaço Reservado para Texto 21">
            <a:extLst>
              <a:ext uri="{FF2B5EF4-FFF2-40B4-BE49-F238E27FC236}">
                <a16:creationId xmlns:a16="http://schemas.microsoft.com/office/drawing/2014/main" id="{B9001F6A-1E00-4C28-A2E1-2F9944718EA0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>
          <a:xfrm>
            <a:off x="-196772" y="377083"/>
            <a:ext cx="12085481" cy="807442"/>
          </a:xfrm>
          <a:prstGeom prst="roundRect">
            <a:avLst>
              <a:gd name="adj" fmla="val 24315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66" name="Espaço Reservado para Texto 21">
            <a:extLst>
              <a:ext uri="{FF2B5EF4-FFF2-40B4-BE49-F238E27FC236}">
                <a16:creationId xmlns:a16="http://schemas.microsoft.com/office/drawing/2014/main" id="{9DAB4CB8-D552-4BF9-9703-99D8E9500F79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1487397" y="-300922"/>
            <a:ext cx="1076598" cy="1073943"/>
          </a:xfrm>
          <a:prstGeom prst="roundRect">
            <a:avLst>
              <a:gd name="adj" fmla="val 33199"/>
            </a:avLst>
          </a:prstGeom>
          <a:gradFill flip="none" rotWithShape="1">
            <a:gsLst>
              <a:gs pos="0">
                <a:srgbClr val="F38D1F"/>
              </a:gs>
              <a:gs pos="70000">
                <a:srgbClr val="660099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67" name="Espaço Reservado para Texto 66">
            <a:extLst>
              <a:ext uri="{FF2B5EF4-FFF2-40B4-BE49-F238E27FC236}">
                <a16:creationId xmlns:a16="http://schemas.microsoft.com/office/drawing/2014/main" id="{4F8B9667-C981-484B-8B08-5BF60A4CA614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>
          <a:xfrm rot="10800000">
            <a:off x="11487397" y="377082"/>
            <a:ext cx="401312" cy="395937"/>
          </a:xfrm>
          <a:custGeom>
            <a:avLst/>
            <a:gdLst>
              <a:gd name="connsiteX0" fmla="*/ 0 w 563737"/>
              <a:gd name="connsiteY0" fmla="*/ 0 h 545821"/>
              <a:gd name="connsiteX1" fmla="*/ 76718 w 563737"/>
              <a:gd name="connsiteY1" fmla="*/ 0 h 545821"/>
              <a:gd name="connsiteX2" fmla="*/ 563737 w 563737"/>
              <a:gd name="connsiteY2" fmla="*/ 487019 h 545821"/>
              <a:gd name="connsiteX3" fmla="*/ 563737 w 563737"/>
              <a:gd name="connsiteY3" fmla="*/ 545821 h 545821"/>
              <a:gd name="connsiteX4" fmla="*/ 293456 w 563737"/>
              <a:gd name="connsiteY4" fmla="*/ 545821 h 545821"/>
              <a:gd name="connsiteX5" fmla="*/ 0 w 563737"/>
              <a:gd name="connsiteY5" fmla="*/ 252365 h 545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3737" h="545821">
                <a:moveTo>
                  <a:pt x="0" y="0"/>
                </a:moveTo>
                <a:lnTo>
                  <a:pt x="76718" y="0"/>
                </a:lnTo>
                <a:cubicBezTo>
                  <a:pt x="345691" y="0"/>
                  <a:pt x="563737" y="218046"/>
                  <a:pt x="563737" y="487019"/>
                </a:cubicBezTo>
                <a:lnTo>
                  <a:pt x="563737" y="545821"/>
                </a:lnTo>
                <a:lnTo>
                  <a:pt x="293456" y="545821"/>
                </a:lnTo>
                <a:cubicBezTo>
                  <a:pt x="131385" y="545821"/>
                  <a:pt x="0" y="414436"/>
                  <a:pt x="0" y="252365"/>
                </a:cubicBezTo>
                <a:close/>
              </a:path>
            </a:pathLst>
          </a:custGeom>
          <a:solidFill>
            <a:srgbClr val="FF99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54" tIns="60977" rIns="121954" bIns="6097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00" kern="0" dirty="0">
                <a:noFill/>
                <a:latin typeface="Calibri"/>
              </a:defRPr>
            </a:lvl1pPr>
          </a:lstStyle>
          <a:p>
            <a:pPr marL="0" lvl="0" algn="ctr" defTabSz="609768"/>
            <a:endParaRPr lang="en-US"/>
          </a:p>
        </p:txBody>
      </p:sp>
      <p:sp>
        <p:nvSpPr>
          <p:cNvPr id="34" name="Espaço Reservado para Texto 21">
            <a:extLst>
              <a:ext uri="{FF2B5EF4-FFF2-40B4-BE49-F238E27FC236}">
                <a16:creationId xmlns:a16="http://schemas.microsoft.com/office/drawing/2014/main" id="{D37EB277-DFFD-41DD-A906-15C8C1EF1F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0984" y="493598"/>
            <a:ext cx="841409" cy="247041"/>
          </a:xfrm>
          <a:prstGeom prst="roundRect">
            <a:avLst>
              <a:gd name="adj" fmla="val 50000"/>
            </a:avLst>
          </a:prstGeom>
          <a:solidFill>
            <a:srgbClr val="99CC33"/>
          </a:solidFill>
        </p:spPr>
        <p:txBody>
          <a:bodyPr/>
          <a:lstStyle>
            <a:lvl1pPr marL="0" indent="0">
              <a:buNone/>
              <a:defRPr sz="1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3" name="Espaço Reservado para Imagem 39">
            <a:extLst>
              <a:ext uri="{FF2B5EF4-FFF2-40B4-BE49-F238E27FC236}">
                <a16:creationId xmlns:a16="http://schemas.microsoft.com/office/drawing/2014/main" id="{C0753624-816D-42D6-9B90-98DAA916E66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57374" y="1852004"/>
            <a:ext cx="2610936" cy="2610936"/>
          </a:xfrm>
          <a:prstGeom prst="roundRect">
            <a:avLst/>
          </a:prstGeom>
          <a:solidFill>
            <a:schemeClr val="bg2">
              <a:lumMod val="9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2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F43453CE-751A-44FA-90A4-2BBB8EEE7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722" y="560829"/>
            <a:ext cx="10902338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rgbClr val="461E5F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sp>
        <p:nvSpPr>
          <p:cNvPr id="5" name="Espaço Reservado para Texto 3">
            <a:extLst>
              <a:ext uri="{FF2B5EF4-FFF2-40B4-BE49-F238E27FC236}">
                <a16:creationId xmlns:a16="http://schemas.microsoft.com/office/drawing/2014/main" id="{516F9C08-2C97-4CAE-970E-7116DECAF9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0380" y="1178065"/>
            <a:ext cx="10929286" cy="297962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rgbClr val="2E2E2E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36758578-286C-4CEF-9B0C-40FFD4D2BE2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0380" y="5013339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9" name="Espaço Reservado para Texto 21">
            <a:extLst>
              <a:ext uri="{FF2B5EF4-FFF2-40B4-BE49-F238E27FC236}">
                <a16:creationId xmlns:a16="http://schemas.microsoft.com/office/drawing/2014/main" id="{D43CCE78-2E42-4649-B9BE-1E94575357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0800000" flipV="1">
            <a:off x="630209" y="4900366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16" name="Espaço Reservado para Imagem 39">
            <a:extLst>
              <a:ext uri="{FF2B5EF4-FFF2-40B4-BE49-F238E27FC236}">
                <a16:creationId xmlns:a16="http://schemas.microsoft.com/office/drawing/2014/main" id="{5972EB7F-44B4-4F8A-96A4-44D17FEB2617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418294" y="1852004"/>
            <a:ext cx="2610936" cy="2610936"/>
          </a:xfrm>
          <a:prstGeom prst="roundRect">
            <a:avLst/>
          </a:prstGeom>
          <a:solidFill>
            <a:schemeClr val="bg2">
              <a:lumMod val="9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2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17" name="Espaço Reservado para Imagem 39">
            <a:extLst>
              <a:ext uri="{FF2B5EF4-FFF2-40B4-BE49-F238E27FC236}">
                <a16:creationId xmlns:a16="http://schemas.microsoft.com/office/drawing/2014/main" id="{E4FF8BA7-CFA8-47A4-80B3-90FB1D8ACD5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6179214" y="1852004"/>
            <a:ext cx="2610936" cy="2610936"/>
          </a:xfrm>
          <a:prstGeom prst="roundRect">
            <a:avLst/>
          </a:prstGeom>
          <a:solidFill>
            <a:schemeClr val="bg2">
              <a:lumMod val="9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2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24" name="Espaço Reservado para Imagem 39">
            <a:extLst>
              <a:ext uri="{FF2B5EF4-FFF2-40B4-BE49-F238E27FC236}">
                <a16:creationId xmlns:a16="http://schemas.microsoft.com/office/drawing/2014/main" id="{69099D30-3DE8-4C8C-8F62-EE1D2E17896B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8940136" y="1852004"/>
            <a:ext cx="2610936" cy="2610936"/>
          </a:xfrm>
          <a:prstGeom prst="roundRect">
            <a:avLst/>
          </a:prstGeom>
          <a:solidFill>
            <a:schemeClr val="bg2">
              <a:lumMod val="9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200" spc="300"/>
            </a:lvl1pPr>
          </a:lstStyle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27" name="Espaço Reservado para Texto 3">
            <a:extLst>
              <a:ext uri="{FF2B5EF4-FFF2-40B4-BE49-F238E27FC236}">
                <a16:creationId xmlns:a16="http://schemas.microsoft.com/office/drawing/2014/main" id="{F810E073-AE46-4B63-9DD8-CDAC759B88B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392608" y="5013339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28" name="Espaço Reservado para Texto 3">
            <a:extLst>
              <a:ext uri="{FF2B5EF4-FFF2-40B4-BE49-F238E27FC236}">
                <a16:creationId xmlns:a16="http://schemas.microsoft.com/office/drawing/2014/main" id="{D99D4468-617F-49F2-8422-0625556204B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64837" y="5013339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29" name="Espaço Reservado para Texto 3">
            <a:extLst>
              <a:ext uri="{FF2B5EF4-FFF2-40B4-BE49-F238E27FC236}">
                <a16:creationId xmlns:a16="http://schemas.microsoft.com/office/drawing/2014/main" id="{A59D69DB-DF8B-4562-B87A-93B5EDBD107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910907" y="5013339"/>
            <a:ext cx="2405925" cy="951987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</p:txBody>
      </p:sp>
      <p:sp>
        <p:nvSpPr>
          <p:cNvPr id="30" name="Espaço Reservado para Texto 21">
            <a:extLst>
              <a:ext uri="{FF2B5EF4-FFF2-40B4-BE49-F238E27FC236}">
                <a16:creationId xmlns:a16="http://schemas.microsoft.com/office/drawing/2014/main" id="{D3D7AA0D-9483-4653-8543-8903E134B96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0800000" flipV="1">
            <a:off x="3431466" y="4900366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31" name="Espaço Reservado para Texto 21">
            <a:extLst>
              <a:ext uri="{FF2B5EF4-FFF2-40B4-BE49-F238E27FC236}">
                <a16:creationId xmlns:a16="http://schemas.microsoft.com/office/drawing/2014/main" id="{A2D2BCAB-6382-4E1E-947B-C5E4487D39F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10800000" flipV="1">
            <a:off x="6191037" y="4900366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32" name="Espaço Reservado para Texto 21">
            <a:extLst>
              <a:ext uri="{FF2B5EF4-FFF2-40B4-BE49-F238E27FC236}">
                <a16:creationId xmlns:a16="http://schemas.microsoft.com/office/drawing/2014/main" id="{F2A3464E-FAD9-4362-AC38-3A5778EFF9D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 rot="10800000" flipV="1">
            <a:off x="8939132" y="4900366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pic>
        <p:nvPicPr>
          <p:cNvPr id="35" name="Imagem 34" descr="Uma imagem contendo desenho&#10;&#10;Descrição gerada automaticamente">
            <a:extLst>
              <a:ext uri="{FF2B5EF4-FFF2-40B4-BE49-F238E27FC236}">
                <a16:creationId xmlns:a16="http://schemas.microsoft.com/office/drawing/2014/main" id="{5A26FAC6-95BB-4611-AD18-52FBC7DF70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3220" y="6169616"/>
            <a:ext cx="1128354" cy="634699"/>
          </a:xfrm>
          <a:prstGeom prst="rect">
            <a:avLst/>
          </a:prstGeom>
        </p:spPr>
      </p:pic>
      <p:sp>
        <p:nvSpPr>
          <p:cNvPr id="37" name="Textfeld 26">
            <a:extLst>
              <a:ext uri="{FF2B5EF4-FFF2-40B4-BE49-F238E27FC236}">
                <a16:creationId xmlns:a16="http://schemas.microsoft.com/office/drawing/2014/main" id="{DEAD4B82-D1B7-41AC-940A-097AE797FCFF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30B4D14F-9158-442F-8D77-C41F7CB9FED6}"/>
              </a:ext>
            </a:extLst>
          </p:cNvPr>
          <p:cNvSpPr txBox="1"/>
          <p:nvPr userDrawn="1"/>
        </p:nvSpPr>
        <p:spPr>
          <a:xfrm>
            <a:off x="114300" y="6489373"/>
            <a:ext cx="176892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215316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3">
            <a:extLst>
              <a:ext uri="{FF2B5EF4-FFF2-40B4-BE49-F238E27FC236}">
                <a16:creationId xmlns:a16="http://schemas.microsoft.com/office/drawing/2014/main" id="{36758578-286C-4CEF-9B0C-40FFD4D2BE2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0380" y="3198058"/>
            <a:ext cx="2405925" cy="2966384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lvl="0"/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</a:t>
            </a:r>
          </a:p>
        </p:txBody>
      </p:sp>
      <p:sp>
        <p:nvSpPr>
          <p:cNvPr id="9" name="Espaço Reservado para Texto 21">
            <a:extLst>
              <a:ext uri="{FF2B5EF4-FFF2-40B4-BE49-F238E27FC236}">
                <a16:creationId xmlns:a16="http://schemas.microsoft.com/office/drawing/2014/main" id="{D43CCE78-2E42-4649-B9BE-1E94575357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0800000" flipV="1">
            <a:off x="630209" y="3085085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pt-BR"/>
              <a:t>o</a:t>
            </a:r>
            <a:endParaRPr lang="en-US"/>
          </a:p>
        </p:txBody>
      </p:sp>
      <p:sp>
        <p:nvSpPr>
          <p:cNvPr id="30" name="Espaço Reservado para Texto 21">
            <a:extLst>
              <a:ext uri="{FF2B5EF4-FFF2-40B4-BE49-F238E27FC236}">
                <a16:creationId xmlns:a16="http://schemas.microsoft.com/office/drawing/2014/main" id="{D3D7AA0D-9483-4653-8543-8903E134B96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 rot="10800000" flipV="1">
            <a:off x="3431466" y="3085085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31" name="Espaço Reservado para Texto 21">
            <a:extLst>
              <a:ext uri="{FF2B5EF4-FFF2-40B4-BE49-F238E27FC236}">
                <a16:creationId xmlns:a16="http://schemas.microsoft.com/office/drawing/2014/main" id="{A2D2BCAB-6382-4E1E-947B-C5E4487D39F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10800000" flipV="1">
            <a:off x="6191037" y="3085085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32" name="Espaço Reservado para Texto 21">
            <a:extLst>
              <a:ext uri="{FF2B5EF4-FFF2-40B4-BE49-F238E27FC236}">
                <a16:creationId xmlns:a16="http://schemas.microsoft.com/office/drawing/2014/main" id="{F2A3464E-FAD9-4362-AC38-3A5778EFF9D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 rot="10800000" flipV="1">
            <a:off x="8939132" y="3085085"/>
            <a:ext cx="358404" cy="45719"/>
          </a:xfrm>
          <a:custGeom>
            <a:avLst/>
            <a:gdLst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632513 h 1285753"/>
              <a:gd name="connsiteX8" fmla="*/ 632513 w 2964709"/>
              <a:gd name="connsiteY8" fmla="*/ 0 h 1285753"/>
              <a:gd name="connsiteX0" fmla="*/ 0 w 2964709"/>
              <a:gd name="connsiteY0" fmla="*/ 632513 h 1285753"/>
              <a:gd name="connsiteX1" fmla="*/ 632513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0 h 1285753"/>
              <a:gd name="connsiteX4" fmla="*/ 2964709 w 2964709"/>
              <a:gd name="connsiteY4" fmla="*/ 653240 h 1285753"/>
              <a:gd name="connsiteX5" fmla="*/ 2332196 w 2964709"/>
              <a:gd name="connsiteY5" fmla="*/ 1285753 h 1285753"/>
              <a:gd name="connsiteX6" fmla="*/ 0 w 2964709"/>
              <a:gd name="connsiteY6" fmla="*/ 1285753 h 1285753"/>
              <a:gd name="connsiteX7" fmla="*/ 0 w 2964709"/>
              <a:gd name="connsiteY7" fmla="*/ 1285753 h 1285753"/>
              <a:gd name="connsiteX8" fmla="*/ 91440 w 2964709"/>
              <a:gd name="connsiteY8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7" fmla="*/ 91440 w 2964709"/>
              <a:gd name="connsiteY7" fmla="*/ 7239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6" fmla="*/ 0 w 2964709"/>
              <a:gd name="connsiteY6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2332196 w 2964709"/>
              <a:gd name="connsiteY4" fmla="*/ 1285753 h 1285753"/>
              <a:gd name="connsiteX5" fmla="*/ 0 w 2964709"/>
              <a:gd name="connsiteY5" fmla="*/ 1285753 h 1285753"/>
              <a:gd name="connsiteX0" fmla="*/ 632513 w 2964709"/>
              <a:gd name="connsiteY0" fmla="*/ 0 h 1285753"/>
              <a:gd name="connsiteX1" fmla="*/ 2964709 w 2964709"/>
              <a:gd name="connsiteY1" fmla="*/ 0 h 1285753"/>
              <a:gd name="connsiteX2" fmla="*/ 2964709 w 2964709"/>
              <a:gd name="connsiteY2" fmla="*/ 0 h 1285753"/>
              <a:gd name="connsiteX3" fmla="*/ 2964709 w 2964709"/>
              <a:gd name="connsiteY3" fmla="*/ 653240 h 1285753"/>
              <a:gd name="connsiteX4" fmla="*/ 0 w 2964709"/>
              <a:gd name="connsiteY4" fmla="*/ 1285753 h 1285753"/>
              <a:gd name="connsiteX0" fmla="*/ 0 w 2332196"/>
              <a:gd name="connsiteY0" fmla="*/ 0 h 653240"/>
              <a:gd name="connsiteX1" fmla="*/ 2332196 w 2332196"/>
              <a:gd name="connsiteY1" fmla="*/ 0 h 653240"/>
              <a:gd name="connsiteX2" fmla="*/ 2332196 w 2332196"/>
              <a:gd name="connsiteY2" fmla="*/ 0 h 653240"/>
              <a:gd name="connsiteX3" fmla="*/ 2332196 w 2332196"/>
              <a:gd name="connsiteY3" fmla="*/ 653240 h 653240"/>
              <a:gd name="connsiteX0" fmla="*/ 0 w 2332196"/>
              <a:gd name="connsiteY0" fmla="*/ 0 h 0"/>
              <a:gd name="connsiteX1" fmla="*/ 2332196 w 2332196"/>
              <a:gd name="connsiteY1" fmla="*/ 0 h 0"/>
              <a:gd name="connsiteX2" fmla="*/ 2332196 w 2332196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32196">
                <a:moveTo>
                  <a:pt x="0" y="0"/>
                </a:moveTo>
                <a:lnTo>
                  <a:pt x="2332196" y="0"/>
                </a:lnTo>
                <a:lnTo>
                  <a:pt x="2332196" y="0"/>
                </a:lnTo>
              </a:path>
            </a:pathLst>
          </a:custGeom>
          <a:ln w="25400" cap="rnd">
            <a:solidFill>
              <a:schemeClr val="tx2">
                <a:lumMod val="9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/>
          <a:lstStyle>
            <a:lvl1pPr>
              <a:defRPr lang="en-US" sz="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33" name="Espaço Reservado para Texto 3">
            <a:extLst>
              <a:ext uri="{FF2B5EF4-FFF2-40B4-BE49-F238E27FC236}">
                <a16:creationId xmlns:a16="http://schemas.microsoft.com/office/drawing/2014/main" id="{04650401-03E7-4122-8F21-DDAD315D87D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395330" y="3198058"/>
            <a:ext cx="2405925" cy="2966384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lvl="0"/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</a:t>
            </a:r>
          </a:p>
        </p:txBody>
      </p:sp>
      <p:sp>
        <p:nvSpPr>
          <p:cNvPr id="35" name="Espaço Reservado para Texto 3">
            <a:extLst>
              <a:ext uri="{FF2B5EF4-FFF2-40B4-BE49-F238E27FC236}">
                <a16:creationId xmlns:a16="http://schemas.microsoft.com/office/drawing/2014/main" id="{15AEA6A6-565E-4B83-B956-8467A661BCA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70280" y="3198058"/>
            <a:ext cx="2405925" cy="2966384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lvl="0"/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</a:t>
            </a:r>
          </a:p>
        </p:txBody>
      </p:sp>
      <p:sp>
        <p:nvSpPr>
          <p:cNvPr id="36" name="Espaço Reservado para Texto 3">
            <a:extLst>
              <a:ext uri="{FF2B5EF4-FFF2-40B4-BE49-F238E27FC236}">
                <a16:creationId xmlns:a16="http://schemas.microsoft.com/office/drawing/2014/main" id="{6EDC0191-B6E7-45ED-820F-8B13FAD274D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945230" y="3198058"/>
            <a:ext cx="2405925" cy="2966384"/>
          </a:xfrm>
          <a:prstGeom prst="rect">
            <a:avLst/>
          </a:prstGeom>
        </p:spPr>
        <p:txBody>
          <a:bodyPr wrap="square" lIns="36000" tIns="36000" rIns="3600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spc="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Lorem ipsum dolor sit amet, consectetuer adipiscing elit. Maecenas porttitor congue massa. Fusce posuere, magna sed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lvl="0"/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 </a:t>
            </a:r>
            <a:r>
              <a:rPr lang="pt-BR" err="1"/>
              <a:t>sed</a:t>
            </a:r>
            <a:r>
              <a:rPr lang="pt-BR"/>
              <a:t> </a:t>
            </a:r>
            <a:r>
              <a:rPr lang="pt-BR" err="1"/>
              <a:t>pulvinar</a:t>
            </a:r>
            <a:r>
              <a:rPr lang="pt-BR"/>
              <a:t> </a:t>
            </a:r>
            <a:r>
              <a:rPr lang="pt-BR" err="1"/>
              <a:t>ultricies</a:t>
            </a:r>
            <a:r>
              <a:rPr lang="pt-BR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pt-BR"/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err="1"/>
              <a:t>Lorem</a:t>
            </a:r>
            <a:r>
              <a:rPr lang="pt-BR"/>
              <a:t> ipsum </a:t>
            </a:r>
            <a:r>
              <a:rPr lang="pt-BR" err="1"/>
              <a:t>dolor</a:t>
            </a:r>
            <a:r>
              <a:rPr lang="pt-BR"/>
              <a:t> </a:t>
            </a:r>
            <a:r>
              <a:rPr lang="pt-BR" err="1"/>
              <a:t>sit</a:t>
            </a:r>
            <a:r>
              <a:rPr lang="pt-BR"/>
              <a:t> </a:t>
            </a:r>
            <a:r>
              <a:rPr lang="pt-BR" err="1"/>
              <a:t>amet</a:t>
            </a:r>
            <a:r>
              <a:rPr lang="pt-BR"/>
              <a:t>, </a:t>
            </a:r>
            <a:r>
              <a:rPr lang="pt-BR" err="1"/>
              <a:t>consectetuer</a:t>
            </a:r>
            <a:r>
              <a:rPr lang="pt-BR"/>
              <a:t> </a:t>
            </a:r>
            <a:r>
              <a:rPr lang="pt-BR" err="1"/>
              <a:t>adipiscing</a:t>
            </a:r>
            <a:r>
              <a:rPr lang="pt-BR"/>
              <a:t> </a:t>
            </a:r>
            <a:r>
              <a:rPr lang="pt-BR" err="1"/>
              <a:t>elit</a:t>
            </a:r>
            <a:r>
              <a:rPr lang="pt-BR"/>
              <a:t>. </a:t>
            </a:r>
            <a:r>
              <a:rPr lang="pt-BR" err="1"/>
              <a:t>Maecenas</a:t>
            </a:r>
            <a:r>
              <a:rPr lang="pt-BR"/>
              <a:t> </a:t>
            </a:r>
            <a:r>
              <a:rPr lang="pt-BR" err="1"/>
              <a:t>porttitor</a:t>
            </a:r>
            <a:r>
              <a:rPr lang="pt-BR"/>
              <a:t> </a:t>
            </a:r>
            <a:r>
              <a:rPr lang="pt-BR" err="1"/>
              <a:t>congue</a:t>
            </a:r>
            <a:r>
              <a:rPr lang="pt-BR"/>
              <a:t> massa. </a:t>
            </a:r>
            <a:r>
              <a:rPr lang="pt-BR" err="1"/>
              <a:t>Fusce</a:t>
            </a:r>
            <a:r>
              <a:rPr lang="pt-BR"/>
              <a:t> </a:t>
            </a:r>
            <a:r>
              <a:rPr lang="pt-BR" err="1"/>
              <a:t>posuere</a:t>
            </a:r>
            <a:r>
              <a:rPr lang="pt-BR"/>
              <a:t>, magna</a:t>
            </a:r>
          </a:p>
        </p:txBody>
      </p:sp>
      <p:sp>
        <p:nvSpPr>
          <p:cNvPr id="20" name="Textfeld 26">
            <a:extLst>
              <a:ext uri="{FF2B5EF4-FFF2-40B4-BE49-F238E27FC236}">
                <a16:creationId xmlns:a16="http://schemas.microsoft.com/office/drawing/2014/main" id="{E6DDA5BB-0539-4D0B-A8C1-55436568489C}"/>
              </a:ext>
            </a:extLst>
          </p:cNvPr>
          <p:cNvSpPr txBox="1"/>
          <p:nvPr userDrawn="1"/>
        </p:nvSpPr>
        <p:spPr>
          <a:xfrm>
            <a:off x="5876925" y="6608373"/>
            <a:ext cx="438150" cy="12024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14024BB3-640A-42C7-B78D-F5C774E154A6}" type="slidenum">
              <a:rPr lang="en-US" sz="800" noProof="0" smtClean="0">
                <a:solidFill>
                  <a:srgbClr val="3C3C3C"/>
                </a:solidFill>
              </a:rPr>
              <a:pPr algn="ctr">
                <a:defRPr/>
              </a:pPr>
              <a:t>‹nº›</a:t>
            </a:fld>
            <a:endParaRPr lang="en-US" sz="800" noProof="0">
              <a:solidFill>
                <a:srgbClr val="3C3C3C"/>
              </a:solidFill>
            </a:endParaRP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8B71D97C-E203-4B54-831D-923A42694A67}"/>
              </a:ext>
            </a:extLst>
          </p:cNvPr>
          <p:cNvSpPr txBox="1"/>
          <p:nvPr userDrawn="1"/>
        </p:nvSpPr>
        <p:spPr>
          <a:xfrm>
            <a:off x="114300" y="6489373"/>
            <a:ext cx="16383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#Vivo</a:t>
            </a:r>
            <a:r>
              <a:rPr lang="pt-BR" sz="1100" b="1" kern="1200">
                <a:solidFill>
                  <a:srgbClr val="404040"/>
                </a:solidFill>
                <a:latin typeface="+mn-lt"/>
                <a:ea typeface="+mn-ea"/>
                <a:cs typeface="+mn-cs"/>
              </a:rPr>
              <a:t>Sustentável</a:t>
            </a:r>
            <a:endParaRPr lang="pt-BR" sz="110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8" name="Forma Livre: Forma 37">
            <a:extLst>
              <a:ext uri="{FF2B5EF4-FFF2-40B4-BE49-F238E27FC236}">
                <a16:creationId xmlns:a16="http://schemas.microsoft.com/office/drawing/2014/main" id="{15933054-CD01-4B97-8003-B73225958DC2}"/>
              </a:ext>
            </a:extLst>
          </p:cNvPr>
          <p:cNvSpPr/>
          <p:nvPr userDrawn="1"/>
        </p:nvSpPr>
        <p:spPr>
          <a:xfrm>
            <a:off x="8131820" y="0"/>
            <a:ext cx="4060180" cy="2890823"/>
          </a:xfrm>
          <a:custGeom>
            <a:avLst/>
            <a:gdLst>
              <a:gd name="connsiteX0" fmla="*/ 0 w 5448345"/>
              <a:gd name="connsiteY0" fmla="*/ 0 h 3879188"/>
              <a:gd name="connsiteX1" fmla="*/ 5448345 w 5448345"/>
              <a:gd name="connsiteY1" fmla="*/ 0 h 3879188"/>
              <a:gd name="connsiteX2" fmla="*/ 5448345 w 5448345"/>
              <a:gd name="connsiteY2" fmla="*/ 3879188 h 3879188"/>
              <a:gd name="connsiteX3" fmla="*/ 5299782 w 5448345"/>
              <a:gd name="connsiteY3" fmla="*/ 3808639 h 3879188"/>
              <a:gd name="connsiteX4" fmla="*/ 4797112 w 5448345"/>
              <a:gd name="connsiteY4" fmla="*/ 3252099 h 3879188"/>
              <a:gd name="connsiteX5" fmla="*/ 2795242 w 5448345"/>
              <a:gd name="connsiteY5" fmla="*/ 1546038 h 3879188"/>
              <a:gd name="connsiteX6" fmla="*/ 4696 w 5448345"/>
              <a:gd name="connsiteY6" fmla="*/ 17235 h 3879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48345" h="3879188">
                <a:moveTo>
                  <a:pt x="0" y="0"/>
                </a:moveTo>
                <a:lnTo>
                  <a:pt x="5448345" y="0"/>
                </a:lnTo>
                <a:lnTo>
                  <a:pt x="5448345" y="3879188"/>
                </a:lnTo>
                <a:lnTo>
                  <a:pt x="5299782" y="3808639"/>
                </a:lnTo>
                <a:cubicBezTo>
                  <a:pt x="5105165" y="3697455"/>
                  <a:pt x="4930444" y="3518237"/>
                  <a:pt x="4797112" y="3252099"/>
                </a:cubicBezTo>
                <a:cubicBezTo>
                  <a:pt x="4263784" y="2187549"/>
                  <a:pt x="3629973" y="1701188"/>
                  <a:pt x="2795242" y="1546038"/>
                </a:cubicBezTo>
                <a:cubicBezTo>
                  <a:pt x="2232432" y="1441139"/>
                  <a:pt x="546116" y="1747683"/>
                  <a:pt x="4696" y="17235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39" name="Espaço Reservado para Imagem 39">
            <a:extLst>
              <a:ext uri="{FF2B5EF4-FFF2-40B4-BE49-F238E27FC236}">
                <a16:creationId xmlns:a16="http://schemas.microsoft.com/office/drawing/2014/main" id="{009AB931-32C4-4175-98D1-285F8389148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-601885" y="168253"/>
            <a:ext cx="10891779" cy="1734975"/>
          </a:xfrm>
          <a:prstGeom prst="roundRect">
            <a:avLst>
              <a:gd name="adj" fmla="val 25020"/>
            </a:avLst>
          </a:prstGeom>
          <a:solidFill>
            <a:schemeClr val="bg1">
              <a:lumMod val="95000"/>
            </a:schemeClr>
          </a:solidFill>
          <a:ln w="15875">
            <a:noFill/>
          </a:ln>
        </p:spPr>
        <p:txBody>
          <a:bodyPr tIns="288000"/>
          <a:lstStyle>
            <a:lvl1pPr marL="0" indent="0" algn="ctr">
              <a:buNone/>
              <a:defRPr sz="1600" spc="300"/>
            </a:lvl1pPr>
          </a:lstStyle>
          <a:p>
            <a:endParaRPr lang="pt-BR"/>
          </a:p>
          <a:p>
            <a:r>
              <a:rPr lang="pt-BR"/>
              <a:t>CLIQUE PARA INSERIR IMAGEM</a:t>
            </a:r>
            <a:endParaRPr lang="en-US"/>
          </a:p>
        </p:txBody>
      </p:sp>
      <p:sp>
        <p:nvSpPr>
          <p:cNvPr id="40" name="Espaço Reservado para Texto 21">
            <a:extLst>
              <a:ext uri="{FF2B5EF4-FFF2-40B4-BE49-F238E27FC236}">
                <a16:creationId xmlns:a16="http://schemas.microsoft.com/office/drawing/2014/main" id="{7A1244C0-3A5E-4298-8E53-839A0532E91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 rot="10800000" flipV="1">
            <a:off x="-279726" y="1396485"/>
            <a:ext cx="10257101" cy="793236"/>
          </a:xfrm>
          <a:prstGeom prst="roundRect">
            <a:avLst>
              <a:gd name="adj" fmla="val 27437"/>
            </a:avLst>
          </a:prstGeom>
          <a:solidFill>
            <a:srgbClr val="99CC33">
              <a:alpha val="80000"/>
            </a:srgbClr>
          </a:solidFill>
        </p:spPr>
        <p:txBody>
          <a:bodyPr/>
          <a:lstStyle>
            <a:lvl1pPr>
              <a:defRPr lang="en-US" sz="1100" dirty="0">
                <a:noFill/>
              </a:defRPr>
            </a:lvl1pPr>
          </a:lstStyle>
          <a:p>
            <a:pPr marL="0" lvl="0" indent="0">
              <a:buNone/>
            </a:pPr>
            <a:r>
              <a:rPr lang="pt-BR"/>
              <a:t>o</a:t>
            </a:r>
            <a:endParaRPr lang="en-US"/>
          </a:p>
        </p:txBody>
      </p:sp>
      <p:sp>
        <p:nvSpPr>
          <p:cNvPr id="41" name="Espaço Reservado para Texto 3">
            <a:extLst>
              <a:ext uri="{FF2B5EF4-FFF2-40B4-BE49-F238E27FC236}">
                <a16:creationId xmlns:a16="http://schemas.microsoft.com/office/drawing/2014/main" id="{8BE3B192-9100-4374-8FEC-6C539CCDDED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964518" y="1764348"/>
            <a:ext cx="2834802" cy="297962"/>
          </a:xfrm>
          <a:prstGeom prst="rect">
            <a:avLst/>
          </a:prstGeom>
        </p:spPr>
        <p:txBody>
          <a:bodyPr wrap="square" lIns="36000" tIns="36000" rIns="36000" bIns="0" anchor="b">
            <a:spAutoFit/>
          </a:bodyPr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2000" b="0" spc="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pt-BR"/>
              <a:t>SUBTÍTULO</a:t>
            </a:r>
          </a:p>
        </p:txBody>
      </p:sp>
      <p:sp>
        <p:nvSpPr>
          <p:cNvPr id="42" name="Título 1">
            <a:extLst>
              <a:ext uri="{FF2B5EF4-FFF2-40B4-BE49-F238E27FC236}">
                <a16:creationId xmlns:a16="http://schemas.microsoft.com/office/drawing/2014/main" id="{5249AB30-4B3F-494A-BE2E-6E11ABD5DE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177" y="1500278"/>
            <a:ext cx="6226286" cy="666781"/>
          </a:xfrm>
          <a:prstGeom prst="rect">
            <a:avLst/>
          </a:prstGeom>
          <a:noFill/>
        </p:spPr>
        <p:txBody>
          <a:bodyPr wrap="square" lIns="36000" tIns="36000" rIns="36000" bIns="0" anchor="b">
            <a:sp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pt-BR"/>
              <a:t>TÍTULO DO SLIDE</a:t>
            </a:r>
            <a:endParaRPr lang="en-US"/>
          </a:p>
        </p:txBody>
      </p:sp>
      <p:pic>
        <p:nvPicPr>
          <p:cNvPr id="18" name="Imagem 17" descr="Uma imagem contendo Logotipo&#10;&#10;Descrição gerada automaticamente">
            <a:extLst>
              <a:ext uri="{FF2B5EF4-FFF2-40B4-BE49-F238E27FC236}">
                <a16:creationId xmlns:a16="http://schemas.microsoft.com/office/drawing/2014/main" id="{CCC84B49-5BD1-4BB0-A6C2-54397F481F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972" y="5892977"/>
            <a:ext cx="1503435" cy="93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5229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3447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8" r:id="rId3"/>
    <p:sldLayoutId id="2147483706" r:id="rId4"/>
    <p:sldLayoutId id="2147483707" r:id="rId5"/>
    <p:sldLayoutId id="2147483687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3" r:id="rId18"/>
    <p:sldLayoutId id="2147483701" r:id="rId19"/>
    <p:sldLayoutId id="2147483704" r:id="rId20"/>
    <p:sldLayoutId id="2147483705" r:id="rId21"/>
    <p:sldLayoutId id="2147483708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tags" Target="../tags/tag1.xml"/><Relationship Id="rId16" Type="http://schemas.openxmlformats.org/officeDocument/2006/relationships/image" Target="../media/image22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emf"/><Relationship Id="rId11" Type="http://schemas.openxmlformats.org/officeDocument/2006/relationships/image" Target="../media/image17.sv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5.svg"/><Relationship Id="rId1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user/fundacaotelefonica" TargetMode="External"/><Relationship Id="rId13" Type="http://schemas.openxmlformats.org/officeDocument/2006/relationships/image" Target="../media/image29.png"/><Relationship Id="rId18" Type="http://schemas.openxmlformats.org/officeDocument/2006/relationships/image" Target="../media/image34.svg"/><Relationship Id="rId3" Type="http://schemas.openxmlformats.org/officeDocument/2006/relationships/hyperlink" Target="http://fundacaotelefonica.org.br/" TargetMode="External"/><Relationship Id="rId7" Type="http://schemas.openxmlformats.org/officeDocument/2006/relationships/hyperlink" Target="https://www.youtube.com/channel/UCln0gS4LpG4O6zpRaMKV6Sg" TargetMode="External"/><Relationship Id="rId12" Type="http://schemas.openxmlformats.org/officeDocument/2006/relationships/image" Target="../media/image28.svg"/><Relationship Id="rId17" Type="http://schemas.openxmlformats.org/officeDocument/2006/relationships/image" Target="../media/image33.png"/><Relationship Id="rId2" Type="http://schemas.openxmlformats.org/officeDocument/2006/relationships/image" Target="../media/image24.png"/><Relationship Id="rId16" Type="http://schemas.openxmlformats.org/officeDocument/2006/relationships/image" Target="../media/image32.svg"/><Relationship Id="rId20" Type="http://schemas.openxmlformats.org/officeDocument/2006/relationships/image" Target="../media/image36.png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facebook.com/fundacaotelefonicavivo" TargetMode="External"/><Relationship Id="rId11" Type="http://schemas.openxmlformats.org/officeDocument/2006/relationships/image" Target="../media/image27.png"/><Relationship Id="rId5" Type="http://schemas.openxmlformats.org/officeDocument/2006/relationships/hyperlink" Target="https://www.instagram.com/fundacaotelefonicavivo/" TargetMode="External"/><Relationship Id="rId15" Type="http://schemas.openxmlformats.org/officeDocument/2006/relationships/image" Target="../media/image31.png"/><Relationship Id="rId10" Type="http://schemas.openxmlformats.org/officeDocument/2006/relationships/image" Target="../media/image26.svg"/><Relationship Id="rId19" Type="http://schemas.openxmlformats.org/officeDocument/2006/relationships/image" Target="../media/image35.png"/><Relationship Id="rId4" Type="http://schemas.openxmlformats.org/officeDocument/2006/relationships/hyperlink" Target="https://twitter.com/FTelefonicaVivo" TargetMode="External"/><Relationship Id="rId9" Type="http://schemas.openxmlformats.org/officeDocument/2006/relationships/image" Target="../media/image25.png"/><Relationship Id="rId14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ço Reservado para Imagem 4" descr="Uma imagem contendo pessoa, no interior, mulher, segurando&#10;&#10;Descrição gerada automaticamente">
            <a:extLst>
              <a:ext uri="{FF2B5EF4-FFF2-40B4-BE49-F238E27FC236}">
                <a16:creationId xmlns:a16="http://schemas.microsoft.com/office/drawing/2014/main" id="{D23AC7E6-99CA-44DC-8F56-6F6C887484B3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5F6100BD-C5E4-405C-AEF5-80FB693C5A37}"/>
              </a:ext>
            </a:extLst>
          </p:cNvPr>
          <p:cNvSpPr/>
          <p:nvPr/>
        </p:nvSpPr>
        <p:spPr>
          <a:xfrm>
            <a:off x="3762" y="0"/>
            <a:ext cx="12192000" cy="6858000"/>
          </a:xfrm>
          <a:prstGeom prst="rect">
            <a:avLst/>
          </a:prstGeom>
          <a:gradFill>
            <a:gsLst>
              <a:gs pos="0">
                <a:srgbClr val="C87FF1">
                  <a:alpha val="70000"/>
                </a:srgbClr>
              </a:gs>
              <a:gs pos="74000">
                <a:srgbClr val="660099">
                  <a:alpha val="75000"/>
                </a:srgbClr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spaço Reservado para Texto 19">
            <a:extLst>
              <a:ext uri="{FF2B5EF4-FFF2-40B4-BE49-F238E27FC236}">
                <a16:creationId xmlns:a16="http://schemas.microsoft.com/office/drawing/2014/main" id="{57A31A3F-0FC1-43A3-B634-C765F6BCE9B1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9" name="Espaço Reservado para Texto 18">
            <a:extLst>
              <a:ext uri="{FF2B5EF4-FFF2-40B4-BE49-F238E27FC236}">
                <a16:creationId xmlns:a16="http://schemas.microsoft.com/office/drawing/2014/main" id="{D18BAFD9-9F9B-411B-B5E5-CD4C171AB437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7" name="Espaço Reservado para Texto 16">
            <a:extLst>
              <a:ext uri="{FF2B5EF4-FFF2-40B4-BE49-F238E27FC236}">
                <a16:creationId xmlns:a16="http://schemas.microsoft.com/office/drawing/2014/main" id="{CC8E2315-1D27-43B2-B768-5496CE45FC7B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8" name="Espaço Reservado para Texto 17">
            <a:extLst>
              <a:ext uri="{FF2B5EF4-FFF2-40B4-BE49-F238E27FC236}">
                <a16:creationId xmlns:a16="http://schemas.microsoft.com/office/drawing/2014/main" id="{4C6515A5-C02A-4E56-8CDD-6754A993700A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9" name="Espaço Reservado para Texto 38">
            <a:extLst>
              <a:ext uri="{FF2B5EF4-FFF2-40B4-BE49-F238E27FC236}">
                <a16:creationId xmlns:a16="http://schemas.microsoft.com/office/drawing/2014/main" id="{14052796-66C5-4E9E-A07A-0847C60F697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92612" y="5038579"/>
            <a:ext cx="5224803" cy="300911"/>
          </a:xfrm>
        </p:spPr>
        <p:txBody>
          <a:bodyPr/>
          <a:lstStyle/>
          <a:p>
            <a:r>
              <a:rPr lang="pt-BR" dirty="0">
                <a:latin typeface="Vivo Type" panose="02000500000000020000" pitchFamily="50" charset="0"/>
                <a:cs typeface="Vivo Type" panose="02000500000000020000" pitchFamily="50" charset="0"/>
              </a:rPr>
              <a:t>MARÇO/2023</a:t>
            </a:r>
          </a:p>
        </p:txBody>
      </p:sp>
      <p:sp>
        <p:nvSpPr>
          <p:cNvPr id="26" name="Título 25">
            <a:extLst>
              <a:ext uri="{FF2B5EF4-FFF2-40B4-BE49-F238E27FC236}">
                <a16:creationId xmlns:a16="http://schemas.microsoft.com/office/drawing/2014/main" id="{050FB8EE-A146-49B7-870A-A41D3C203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991" y="4151284"/>
            <a:ext cx="8443274" cy="611894"/>
          </a:xfrm>
        </p:spPr>
        <p:txBody>
          <a:bodyPr/>
          <a:lstStyle/>
          <a:p>
            <a:endParaRPr lang="pt-BR" sz="4400" dirty="0">
              <a:latin typeface="VIVO" panose="020B05080200000200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2B088B7-C6B2-4E73-AA57-230B5FAA76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10027" y="4996677"/>
            <a:ext cx="848198" cy="232981"/>
            <a:chOff x="2906" y="1735"/>
            <a:chExt cx="1864" cy="512"/>
          </a:xfrm>
          <a:solidFill>
            <a:schemeClr val="tx2"/>
          </a:solidFill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7BA0FB6-33B3-4792-97BA-9D0144D59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6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8EFB26C-5CEA-4B4F-91FE-24D18B6F9F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C7E09F1-FABA-4052-8061-885760BDB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0EF0F3D-7DAF-49F2-BC3E-410B04140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7" name="Oval 25">
              <a:extLst>
                <a:ext uri="{FF2B5EF4-FFF2-40B4-BE49-F238E27FC236}">
                  <a16:creationId xmlns:a16="http://schemas.microsoft.com/office/drawing/2014/main" id="{6CC33A43-32DE-4741-8E4F-2F9DAF1C4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1735"/>
              <a:ext cx="172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8" name="Oval 26">
              <a:extLst>
                <a:ext uri="{FF2B5EF4-FFF2-40B4-BE49-F238E27FC236}">
                  <a16:creationId xmlns:a16="http://schemas.microsoft.com/office/drawing/2014/main" id="{883671EA-4ADF-4E86-AEDB-7AE5061A81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29" name="Oval 27">
              <a:extLst>
                <a:ext uri="{FF2B5EF4-FFF2-40B4-BE49-F238E27FC236}">
                  <a16:creationId xmlns:a16="http://schemas.microsoft.com/office/drawing/2014/main" id="{70A6C64D-CAFF-494B-A627-EA471C0B7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0" name="Oval 28">
              <a:extLst>
                <a:ext uri="{FF2B5EF4-FFF2-40B4-BE49-F238E27FC236}">
                  <a16:creationId xmlns:a16="http://schemas.microsoft.com/office/drawing/2014/main" id="{9FED0237-7D75-4C8D-B826-ACEE654BC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1" name="Oval 29">
              <a:extLst>
                <a:ext uri="{FF2B5EF4-FFF2-40B4-BE49-F238E27FC236}">
                  <a16:creationId xmlns:a16="http://schemas.microsoft.com/office/drawing/2014/main" id="{6BAD21F6-BD95-44E8-8E6B-F733F9A6C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2075"/>
              <a:ext cx="172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32" name="Oval 30">
              <a:extLst>
                <a:ext uri="{FF2B5EF4-FFF2-40B4-BE49-F238E27FC236}">
                  <a16:creationId xmlns:a16="http://schemas.microsoft.com/office/drawing/2014/main" id="{F651A1D8-B5D4-4E5B-B5BA-F68F7C30A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sp>
        <p:nvSpPr>
          <p:cNvPr id="33" name="Forma Livre: Forma 32">
            <a:extLst>
              <a:ext uri="{FF2B5EF4-FFF2-40B4-BE49-F238E27FC236}">
                <a16:creationId xmlns:a16="http://schemas.microsoft.com/office/drawing/2014/main" id="{A4804BCC-E2B9-4E2A-98EE-89F564002D69}"/>
              </a:ext>
            </a:extLst>
          </p:cNvPr>
          <p:cNvSpPr/>
          <p:nvPr/>
        </p:nvSpPr>
        <p:spPr>
          <a:xfrm>
            <a:off x="0" y="0"/>
            <a:ext cx="7002684" cy="2228392"/>
          </a:xfrm>
          <a:custGeom>
            <a:avLst/>
            <a:gdLst>
              <a:gd name="connsiteX0" fmla="*/ 0 w 10041446"/>
              <a:gd name="connsiteY0" fmla="*/ 0 h 3195386"/>
              <a:gd name="connsiteX1" fmla="*/ 10041446 w 10041446"/>
              <a:gd name="connsiteY1" fmla="*/ 0 h 3195386"/>
              <a:gd name="connsiteX2" fmla="*/ 10004977 w 10041446"/>
              <a:gd name="connsiteY2" fmla="*/ 166441 h 3195386"/>
              <a:gd name="connsiteX3" fmla="*/ 5735155 w 10041446"/>
              <a:gd name="connsiteY3" fmla="*/ 2258029 h 3195386"/>
              <a:gd name="connsiteX4" fmla="*/ 391471 w 10041446"/>
              <a:gd name="connsiteY4" fmla="*/ 2938548 h 3195386"/>
              <a:gd name="connsiteX5" fmla="*/ 0 w 10041446"/>
              <a:gd name="connsiteY5" fmla="*/ 3195386 h 3195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41446" h="3195386">
                <a:moveTo>
                  <a:pt x="0" y="0"/>
                </a:moveTo>
                <a:lnTo>
                  <a:pt x="10041446" y="0"/>
                </a:lnTo>
                <a:lnTo>
                  <a:pt x="10004977" y="166441"/>
                </a:lnTo>
                <a:cubicBezTo>
                  <a:pt x="9582953" y="1714950"/>
                  <a:pt x="8187339" y="2761811"/>
                  <a:pt x="5735155" y="2258029"/>
                </a:cubicBezTo>
                <a:cubicBezTo>
                  <a:pt x="2716524" y="1638066"/>
                  <a:pt x="1463491" y="2185879"/>
                  <a:pt x="391471" y="2938548"/>
                </a:cubicBezTo>
                <a:lnTo>
                  <a:pt x="0" y="3195386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pic>
        <p:nvPicPr>
          <p:cNvPr id="7" name="Imagem 6" descr="Uma imagem contendo Texto&#10;&#10;Descrição gerada automaticamente">
            <a:extLst>
              <a:ext uri="{FF2B5EF4-FFF2-40B4-BE49-F238E27FC236}">
                <a16:creationId xmlns:a16="http://schemas.microsoft.com/office/drawing/2014/main" id="{C9081044-ED9F-4077-85F6-01804BB132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9" y="-42022"/>
            <a:ext cx="2468489" cy="153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72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325"/>
    </mc:Choice>
    <mc:Fallback xmlns="">
      <p:transition advTm="1325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F0093C1F-4FDA-40C9-85AE-ECE18B93A23E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5" name="Espaço Reservado para Imagem 4" descr="Homem sentado em frente a computador&#10;&#10;Descrição gerada automaticamente">
            <a:extLst>
              <a:ext uri="{FF2B5EF4-FFF2-40B4-BE49-F238E27FC236}">
                <a16:creationId xmlns:a16="http://schemas.microsoft.com/office/drawing/2014/main" id="{1B6938F9-8C84-4828-832D-137796DABB5C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5" t="14809" r="165" b="41027"/>
          <a:stretch/>
        </p:blipFill>
        <p:spPr>
          <a:xfrm>
            <a:off x="-567159" y="781166"/>
            <a:ext cx="12228731" cy="3600334"/>
          </a:xfrm>
        </p:spPr>
      </p:pic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F9EC9E0F-00D2-4590-9BE9-F6BB614876B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233C32C7-2614-476F-9A3A-8967BFE7D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664" y="4275086"/>
            <a:ext cx="8040371" cy="618370"/>
          </a:xfrm>
        </p:spPr>
        <p:txBody>
          <a:bodyPr/>
          <a:lstStyle/>
          <a:p>
            <a:endParaRPr lang="pt-BR" sz="4400" dirty="0">
              <a:latin typeface="Vivo Type" panose="02000500000000020000" pitchFamily="50" charset="0"/>
              <a:cs typeface="Vivo Type" panose="02000500000000020000" pitchFamily="50" charset="0"/>
            </a:endParaRP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B7CA50D-7A5A-4FDE-A4F7-F33FFE5A5319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55D02F01-EB5C-493C-85D3-3BEE5FDA32AB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54231285-B4C7-4316-B4A3-54A5948D369A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9" name="Imagem 8" descr="Uma imagem contendo Texto&#10;&#10;Descrição gerada automaticamente">
            <a:extLst>
              <a:ext uri="{FF2B5EF4-FFF2-40B4-BE49-F238E27FC236}">
                <a16:creationId xmlns:a16="http://schemas.microsoft.com/office/drawing/2014/main" id="{EC05C66D-B1F0-4B40-A7EA-52162309EB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8" y="5485202"/>
            <a:ext cx="2005070" cy="12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36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ço Reservado para Imagem 5" descr="Pessoa em frente a computador&#10;&#10;Descrição gerada automaticamente">
            <a:extLst>
              <a:ext uri="{FF2B5EF4-FFF2-40B4-BE49-F238E27FC236}">
                <a16:creationId xmlns:a16="http://schemas.microsoft.com/office/drawing/2014/main" id="{73BB5487-2D4C-41F6-9240-19B430DF205F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0" b="21870"/>
          <a:stretch>
            <a:fillRect/>
          </a:stretch>
        </p:blipFill>
        <p:spPr/>
      </p:pic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55D02F01-EB5C-493C-85D3-3BEE5FDA32AB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3" name="Espaço Reservado para Texto 12">
            <a:extLst>
              <a:ext uri="{FF2B5EF4-FFF2-40B4-BE49-F238E27FC236}">
                <a16:creationId xmlns:a16="http://schemas.microsoft.com/office/drawing/2014/main" id="{54231285-B4C7-4316-B4A3-54A5948D369A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4" name="Espaço Reservado para Texto 13">
            <a:extLst>
              <a:ext uri="{FF2B5EF4-FFF2-40B4-BE49-F238E27FC236}">
                <a16:creationId xmlns:a16="http://schemas.microsoft.com/office/drawing/2014/main" id="{F0093C1F-4FDA-40C9-85AE-ECE18B93A23E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1" name="Espaço Reservado para Texto 10">
            <a:extLst>
              <a:ext uri="{FF2B5EF4-FFF2-40B4-BE49-F238E27FC236}">
                <a16:creationId xmlns:a16="http://schemas.microsoft.com/office/drawing/2014/main" id="{F9EC9E0F-00D2-4590-9BE9-F6BB614876B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233C32C7-2614-476F-9A3A-8967BFE7D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9061" y="4300543"/>
            <a:ext cx="7522503" cy="565471"/>
          </a:xfrm>
        </p:spPr>
        <p:txBody>
          <a:bodyPr/>
          <a:lstStyle/>
          <a:p>
            <a:endParaRPr lang="pt-BR" sz="4000" dirty="0">
              <a:latin typeface="Vivo Type" panose="02000500000000020000" pitchFamily="50" charset="0"/>
              <a:cs typeface="Vivo Type" panose="02000500000000020000" pitchFamily="50" charset="0"/>
            </a:endParaRPr>
          </a:p>
        </p:txBody>
      </p:sp>
      <p:sp>
        <p:nvSpPr>
          <p:cNvPr id="12" name="Espaço Reservado para Texto 11">
            <a:extLst>
              <a:ext uri="{FF2B5EF4-FFF2-40B4-BE49-F238E27FC236}">
                <a16:creationId xmlns:a16="http://schemas.microsoft.com/office/drawing/2014/main" id="{0B7CA50D-7A5A-4FDE-A4F7-F33FFE5A5319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9" name="Imagem 8" descr="Uma imagem contendo Texto&#10;&#10;Descrição gerada automaticamente">
            <a:extLst>
              <a:ext uri="{FF2B5EF4-FFF2-40B4-BE49-F238E27FC236}">
                <a16:creationId xmlns:a16="http://schemas.microsoft.com/office/drawing/2014/main" id="{F00D6C38-B8BC-4B0E-B89F-A6DFD732F5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8" y="5515182"/>
            <a:ext cx="2005070" cy="12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822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ço Reservado para Imagem 4">
            <a:extLst>
              <a:ext uri="{FF2B5EF4-FFF2-40B4-BE49-F238E27FC236}">
                <a16:creationId xmlns:a16="http://schemas.microsoft.com/office/drawing/2014/main" id="{84DAF761-A46B-47CD-8756-28FB2BA9BDB9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73" b="11273"/>
          <a:stretch>
            <a:fillRect/>
          </a:stretch>
        </p:blipFill>
        <p:spPr/>
      </p:pic>
      <p:sp>
        <p:nvSpPr>
          <p:cNvPr id="9" name="Título 8">
            <a:extLst>
              <a:ext uri="{FF2B5EF4-FFF2-40B4-BE49-F238E27FC236}">
                <a16:creationId xmlns:a16="http://schemas.microsoft.com/office/drawing/2014/main" id="{6F50FE15-41E4-40DF-A915-00A933FA5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351" y="1231107"/>
            <a:ext cx="3576649" cy="742699"/>
          </a:xfrm>
        </p:spPr>
        <p:txBody>
          <a:bodyPr/>
          <a:lstStyle/>
          <a:p>
            <a:r>
              <a:rPr lang="pt-BR" sz="5400" dirty="0">
                <a:latin typeface="VIVO" panose="020B0508020000020004" pitchFamily="34" charset="0"/>
              </a:rPr>
              <a:t>Agenda</a:t>
            </a:r>
          </a:p>
        </p:txBody>
      </p:sp>
      <p:sp>
        <p:nvSpPr>
          <p:cNvPr id="15" name="Espaço Reservado para Texto 14">
            <a:extLst>
              <a:ext uri="{FF2B5EF4-FFF2-40B4-BE49-F238E27FC236}">
                <a16:creationId xmlns:a16="http://schemas.microsoft.com/office/drawing/2014/main" id="{2F3B1D41-5AC4-4B1D-80BD-4C4F958800EE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7" name="Espaço Reservado para Texto 16">
            <a:extLst>
              <a:ext uri="{FF2B5EF4-FFF2-40B4-BE49-F238E27FC236}">
                <a16:creationId xmlns:a16="http://schemas.microsoft.com/office/drawing/2014/main" id="{C18DC746-A04F-4EC3-AECF-80322FDC525B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9" name="Espaço Reservado para Texto 18">
            <a:extLst>
              <a:ext uri="{FF2B5EF4-FFF2-40B4-BE49-F238E27FC236}">
                <a16:creationId xmlns:a16="http://schemas.microsoft.com/office/drawing/2014/main" id="{5348777B-F00B-4C53-B226-D454B87B9EEF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22" name="Text Placeholder 42">
            <a:extLst>
              <a:ext uri="{FF2B5EF4-FFF2-40B4-BE49-F238E27FC236}">
                <a16:creationId xmlns:a16="http://schemas.microsoft.com/office/drawing/2014/main" id="{3088FDD2-F4FF-4CF2-9CCB-C7CBE953C16C}"/>
              </a:ext>
            </a:extLst>
          </p:cNvPr>
          <p:cNvSpPr txBox="1">
            <a:spLocks/>
          </p:cNvSpPr>
          <p:nvPr/>
        </p:nvSpPr>
        <p:spPr>
          <a:xfrm>
            <a:off x="6513637" y="3266099"/>
            <a:ext cx="5069671" cy="3958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b="1" i="0" kern="1200">
                <a:solidFill>
                  <a:srgbClr val="003243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pt-BR" sz="2100" b="0" dirty="0">
                <a:solidFill>
                  <a:schemeClr val="tx1"/>
                </a:solidFill>
                <a:latin typeface="Vivo Type Light" panose="02000300000000020000" pitchFamily="50" charset="0"/>
                <a:cs typeface="Vivo Type Light" panose="02000300000000020000" pitchFamily="50" charset="0"/>
              </a:rPr>
              <a:t>2. </a:t>
            </a:r>
          </a:p>
        </p:txBody>
      </p:sp>
      <p:sp>
        <p:nvSpPr>
          <p:cNvPr id="26" name="Text Placeholder 42">
            <a:extLst>
              <a:ext uri="{FF2B5EF4-FFF2-40B4-BE49-F238E27FC236}">
                <a16:creationId xmlns:a16="http://schemas.microsoft.com/office/drawing/2014/main" id="{CCA431AE-8ACE-4AF1-84EB-75036DC514A0}"/>
              </a:ext>
            </a:extLst>
          </p:cNvPr>
          <p:cNvSpPr txBox="1">
            <a:spLocks/>
          </p:cNvSpPr>
          <p:nvPr/>
        </p:nvSpPr>
        <p:spPr>
          <a:xfrm>
            <a:off x="6529579" y="3922583"/>
            <a:ext cx="5069671" cy="3958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pt-BR"/>
            </a:defPPr>
            <a:lvl1pPr defTabSz="914400">
              <a:spcBef>
                <a:spcPct val="20000"/>
              </a:spcBef>
              <a:spcAft>
                <a:spcPct val="0"/>
              </a:spcAft>
              <a:defRPr sz="1800" b="1">
                <a:cs typeface="Segoe UI Light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100" b="0" dirty="0">
                <a:latin typeface="Vivo Type Light" panose="02000300000000020000" pitchFamily="50" charset="0"/>
                <a:cs typeface="Vivo Type Light" panose="02000300000000020000" pitchFamily="50" charset="0"/>
              </a:rPr>
              <a:t>3. </a:t>
            </a:r>
          </a:p>
        </p:txBody>
      </p:sp>
      <p:sp>
        <p:nvSpPr>
          <p:cNvPr id="45" name="Text Placeholder 42">
            <a:extLst>
              <a:ext uri="{FF2B5EF4-FFF2-40B4-BE49-F238E27FC236}">
                <a16:creationId xmlns:a16="http://schemas.microsoft.com/office/drawing/2014/main" id="{E915C372-0825-47A4-B8E9-674A83CE02D2}"/>
              </a:ext>
            </a:extLst>
          </p:cNvPr>
          <p:cNvSpPr txBox="1">
            <a:spLocks/>
          </p:cNvSpPr>
          <p:nvPr/>
        </p:nvSpPr>
        <p:spPr>
          <a:xfrm>
            <a:off x="6513637" y="2609615"/>
            <a:ext cx="5069671" cy="3958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pt-BR"/>
            </a:defPPr>
            <a:lvl1pPr defTabSz="914400">
              <a:spcBef>
                <a:spcPct val="20000"/>
              </a:spcBef>
              <a:spcAft>
                <a:spcPct val="0"/>
              </a:spcAft>
              <a:defRPr sz="1800" b="1">
                <a:cs typeface="Segoe UI Light" panose="020B0502040204020203" pitchFamily="34" charset="0"/>
              </a:defRPr>
            </a:lvl1pPr>
            <a:lvl2pPr marL="4572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9144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3pPr>
            <a:lvl4pPr marL="13716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/>
            </a:lvl4pPr>
            <a:lvl5pPr marL="18288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pt-BR" sz="2100" dirty="0">
                <a:latin typeface="Vivo Type Light" panose="02000300000000020000" pitchFamily="50" charset="0"/>
                <a:cs typeface="Vivo Type Light" panose="02000300000000020000" pitchFamily="50" charset="0"/>
              </a:rPr>
              <a:t>1. </a:t>
            </a:r>
          </a:p>
        </p:txBody>
      </p:sp>
      <p:sp>
        <p:nvSpPr>
          <p:cNvPr id="18" name="Text Placeholder 42">
            <a:extLst>
              <a:ext uri="{FF2B5EF4-FFF2-40B4-BE49-F238E27FC236}">
                <a16:creationId xmlns:a16="http://schemas.microsoft.com/office/drawing/2014/main" id="{6CB69F85-3EC8-494E-81E0-AABDD6217E52}"/>
              </a:ext>
            </a:extLst>
          </p:cNvPr>
          <p:cNvSpPr txBox="1">
            <a:spLocks/>
          </p:cNvSpPr>
          <p:nvPr/>
        </p:nvSpPr>
        <p:spPr>
          <a:xfrm>
            <a:off x="6513637" y="4591506"/>
            <a:ext cx="5069671" cy="3958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pt-BR"/>
            </a:defPPr>
            <a:lvl1pPr defTabSz="914400">
              <a:spcBef>
                <a:spcPct val="20000"/>
              </a:spcBef>
              <a:spcAft>
                <a:spcPct val="0"/>
              </a:spcAft>
              <a:defRPr sz="1800" b="1">
                <a:cs typeface="Segoe UI Light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100" b="0" dirty="0">
                <a:latin typeface="Vivo Type Light" panose="02000300000000020000" pitchFamily="50" charset="0"/>
                <a:cs typeface="Vivo Type Light" panose="02000300000000020000" pitchFamily="50" charset="0"/>
              </a:rPr>
              <a:t>4. </a:t>
            </a:r>
          </a:p>
        </p:txBody>
      </p:sp>
      <p:sp>
        <p:nvSpPr>
          <p:cNvPr id="25" name="Text Placeholder 42">
            <a:extLst>
              <a:ext uri="{FF2B5EF4-FFF2-40B4-BE49-F238E27FC236}">
                <a16:creationId xmlns:a16="http://schemas.microsoft.com/office/drawing/2014/main" id="{7EE05A87-CFC6-4EF4-82F5-659603EE5006}"/>
              </a:ext>
            </a:extLst>
          </p:cNvPr>
          <p:cNvSpPr txBox="1">
            <a:spLocks/>
          </p:cNvSpPr>
          <p:nvPr/>
        </p:nvSpPr>
        <p:spPr>
          <a:xfrm>
            <a:off x="6529579" y="5260428"/>
            <a:ext cx="5069671" cy="3958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pt-BR"/>
            </a:defPPr>
            <a:lvl1pPr defTabSz="914400">
              <a:spcBef>
                <a:spcPct val="20000"/>
              </a:spcBef>
              <a:spcAft>
                <a:spcPct val="0"/>
              </a:spcAft>
              <a:defRPr sz="1800" b="1">
                <a:cs typeface="Segoe UI Light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100" b="0" dirty="0">
                <a:latin typeface="Vivo Type Light" panose="02000300000000020000" pitchFamily="50" charset="0"/>
                <a:cs typeface="Vivo Type Light" panose="02000300000000020000" pitchFamily="50" charset="0"/>
              </a:rPr>
              <a:t>5. </a:t>
            </a:r>
          </a:p>
        </p:txBody>
      </p:sp>
      <p:sp>
        <p:nvSpPr>
          <p:cNvPr id="2" name="Retângulo: Cantos Arredondados 1">
            <a:extLst>
              <a:ext uri="{FF2B5EF4-FFF2-40B4-BE49-F238E27FC236}">
                <a16:creationId xmlns:a16="http://schemas.microsoft.com/office/drawing/2014/main" id="{1AC2A614-8864-4BD6-8F5A-5256F736211F}"/>
              </a:ext>
            </a:extLst>
          </p:cNvPr>
          <p:cNvSpPr/>
          <p:nvPr/>
        </p:nvSpPr>
        <p:spPr>
          <a:xfrm>
            <a:off x="6345716" y="2522863"/>
            <a:ext cx="5170225" cy="675942"/>
          </a:xfrm>
          <a:prstGeom prst="roundRect">
            <a:avLst/>
          </a:prstGeom>
          <a:noFill/>
          <a:ln w="1905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100">
              <a:latin typeface="Vivo Type Light" panose="02000300000000020000" pitchFamily="50" charset="0"/>
              <a:cs typeface="Vivo Type Light" panose="0200030000000002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6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Espaço Reservado para Imagem 14">
            <a:extLst>
              <a:ext uri="{FF2B5EF4-FFF2-40B4-BE49-F238E27FC236}">
                <a16:creationId xmlns:a16="http://schemas.microsoft.com/office/drawing/2014/main" id="{0DCECA5D-45ED-4E66-B878-31BA6D58922D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5"/>
          <a:stretch/>
        </p:blipFill>
        <p:spPr>
          <a:xfrm>
            <a:off x="-601885" y="0"/>
            <a:ext cx="10891779" cy="1602034"/>
          </a:xfrm>
          <a:prstGeom prst="roundRect">
            <a:avLst>
              <a:gd name="adj" fmla="val 25075"/>
            </a:avLst>
          </a:prstGeom>
        </p:spPr>
      </p:pic>
      <p:sp>
        <p:nvSpPr>
          <p:cNvPr id="94" name="Espaço Reservado para Texto 93">
            <a:extLst>
              <a:ext uri="{FF2B5EF4-FFF2-40B4-BE49-F238E27FC236}">
                <a16:creationId xmlns:a16="http://schemas.microsoft.com/office/drawing/2014/main" id="{15E50E76-8B9A-4220-ADA7-5C49BCB920D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 rot="10800000" flipV="1">
            <a:off x="-279728" y="1077650"/>
            <a:ext cx="10257101" cy="721172"/>
          </a:xfrm>
        </p:spPr>
        <p:txBody>
          <a:bodyPr/>
          <a:lstStyle/>
          <a:p>
            <a:endParaRPr lang="pt-BR"/>
          </a:p>
        </p:txBody>
      </p:sp>
      <p:sp>
        <p:nvSpPr>
          <p:cNvPr id="78" name="Título 77">
            <a:extLst>
              <a:ext uri="{FF2B5EF4-FFF2-40B4-BE49-F238E27FC236}">
                <a16:creationId xmlns:a16="http://schemas.microsoft.com/office/drawing/2014/main" id="{4DF872C3-39A6-4E74-A37E-E0A82A815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725" y="1242985"/>
            <a:ext cx="9526770" cy="565471"/>
          </a:xfrm>
          <a:prstGeom prst="rect">
            <a:avLst/>
          </a:prstGeom>
        </p:spPr>
        <p:txBody>
          <a:bodyPr anchor="ctr"/>
          <a:lstStyle/>
          <a:p>
            <a:endParaRPr lang="pt-BR" sz="4000" dirty="0">
              <a:solidFill>
                <a:srgbClr val="660099"/>
              </a:solidFill>
              <a:latin typeface="Vivo Type" panose="02000500000000020000" pitchFamily="50" charset="0"/>
              <a:cs typeface="Vivo Type" panose="02000500000000020000" pitchFamily="50" charset="0"/>
            </a:endParaRPr>
          </a:p>
        </p:txBody>
      </p:sp>
      <p:sp>
        <p:nvSpPr>
          <p:cNvPr id="84" name="Freeform 49">
            <a:extLst>
              <a:ext uri="{FF2B5EF4-FFF2-40B4-BE49-F238E27FC236}">
                <a16:creationId xmlns:a16="http://schemas.microsoft.com/office/drawing/2014/main" id="{130EC0F3-E9C8-4F61-8D38-0C15C03BAAE1}"/>
              </a:ext>
            </a:extLst>
          </p:cNvPr>
          <p:cNvSpPr>
            <a:spLocks/>
          </p:cNvSpPr>
          <p:nvPr/>
        </p:nvSpPr>
        <p:spPr bwMode="auto">
          <a:xfrm>
            <a:off x="9527880" y="864515"/>
            <a:ext cx="308927" cy="355357"/>
          </a:xfrm>
          <a:custGeom>
            <a:avLst/>
            <a:gdLst>
              <a:gd name="T0" fmla="*/ 21 w 143"/>
              <a:gd name="T1" fmla="*/ 5 h 165"/>
              <a:gd name="T2" fmla="*/ 134 w 143"/>
              <a:gd name="T3" fmla="*/ 70 h 165"/>
              <a:gd name="T4" fmla="*/ 134 w 143"/>
              <a:gd name="T5" fmla="*/ 94 h 165"/>
              <a:gd name="T6" fmla="*/ 21 w 143"/>
              <a:gd name="T7" fmla="*/ 159 h 165"/>
              <a:gd name="T8" fmla="*/ 0 w 143"/>
              <a:gd name="T9" fmla="*/ 147 h 165"/>
              <a:gd name="T10" fmla="*/ 0 w 143"/>
              <a:gd name="T11" fmla="*/ 17 h 165"/>
              <a:gd name="T12" fmla="*/ 21 w 143"/>
              <a:gd name="T13" fmla="*/ 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3" h="165">
                <a:moveTo>
                  <a:pt x="21" y="5"/>
                </a:moveTo>
                <a:cubicBezTo>
                  <a:pt x="134" y="70"/>
                  <a:pt x="134" y="70"/>
                  <a:pt x="134" y="70"/>
                </a:cubicBezTo>
                <a:cubicBezTo>
                  <a:pt x="143" y="76"/>
                  <a:pt x="143" y="89"/>
                  <a:pt x="134" y="94"/>
                </a:cubicBezTo>
                <a:cubicBezTo>
                  <a:pt x="21" y="159"/>
                  <a:pt x="21" y="159"/>
                  <a:pt x="21" y="159"/>
                </a:cubicBezTo>
                <a:cubicBezTo>
                  <a:pt x="12" y="165"/>
                  <a:pt x="0" y="158"/>
                  <a:pt x="0" y="14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7"/>
                  <a:pt x="12" y="0"/>
                  <a:pt x="21" y="5"/>
                </a:cubicBezTo>
              </a:path>
            </a:pathLst>
          </a:custGeom>
          <a:solidFill>
            <a:srgbClr val="66009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152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Officina Serif ITC TT"/>
              <a:ea typeface="+mn-ea"/>
              <a:cs typeface="+mn-cs"/>
            </a:endParaRPr>
          </a:p>
        </p:txBody>
      </p:sp>
      <p:grpSp>
        <p:nvGrpSpPr>
          <p:cNvPr id="85" name="Group 20">
            <a:extLst>
              <a:ext uri="{FF2B5EF4-FFF2-40B4-BE49-F238E27FC236}">
                <a16:creationId xmlns:a16="http://schemas.microsoft.com/office/drawing/2014/main" id="{7DF484E1-9253-497C-BBDB-79E2BA3C7FD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88609" y="1936027"/>
            <a:ext cx="848198" cy="232981"/>
            <a:chOff x="2906" y="1735"/>
            <a:chExt cx="1864" cy="512"/>
          </a:xfrm>
          <a:solidFill>
            <a:schemeClr val="tx2"/>
          </a:solidFill>
        </p:grpSpPr>
        <p:sp>
          <p:nvSpPr>
            <p:cNvPr id="86" name="Oval 21">
              <a:extLst>
                <a:ext uri="{FF2B5EF4-FFF2-40B4-BE49-F238E27FC236}">
                  <a16:creationId xmlns:a16="http://schemas.microsoft.com/office/drawing/2014/main" id="{0A483773-43FA-44FB-B56F-157A390C6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6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87" name="Oval 22">
              <a:extLst>
                <a:ext uri="{FF2B5EF4-FFF2-40B4-BE49-F238E27FC236}">
                  <a16:creationId xmlns:a16="http://schemas.microsoft.com/office/drawing/2014/main" id="{41652FFB-7D96-4A8E-868D-222D7A2232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88" name="Oval 23">
              <a:extLst>
                <a:ext uri="{FF2B5EF4-FFF2-40B4-BE49-F238E27FC236}">
                  <a16:creationId xmlns:a16="http://schemas.microsoft.com/office/drawing/2014/main" id="{9D7A1266-C1A0-43EC-BA0A-7800F1C3E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89" name="Oval 24">
              <a:extLst>
                <a:ext uri="{FF2B5EF4-FFF2-40B4-BE49-F238E27FC236}">
                  <a16:creationId xmlns:a16="http://schemas.microsoft.com/office/drawing/2014/main" id="{52EFE144-35A3-40E3-869F-49EE049D5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95" name="Oval 25">
              <a:extLst>
                <a:ext uri="{FF2B5EF4-FFF2-40B4-BE49-F238E27FC236}">
                  <a16:creationId xmlns:a16="http://schemas.microsoft.com/office/drawing/2014/main" id="{607C11A8-E2AF-4BE7-ABE1-BDEE1EE778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1735"/>
              <a:ext cx="172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96" name="Oval 26">
              <a:extLst>
                <a:ext uri="{FF2B5EF4-FFF2-40B4-BE49-F238E27FC236}">
                  <a16:creationId xmlns:a16="http://schemas.microsoft.com/office/drawing/2014/main" id="{08E39F3F-0636-45BD-BDD8-19CBC0BDE8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1735"/>
              <a:ext cx="169" cy="1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97" name="Oval 27">
              <a:extLst>
                <a:ext uri="{FF2B5EF4-FFF2-40B4-BE49-F238E27FC236}">
                  <a16:creationId xmlns:a16="http://schemas.microsoft.com/office/drawing/2014/main" id="{48ABB93A-E1FC-4BC7-A472-6D5870E7D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98" name="Oval 28">
              <a:extLst>
                <a:ext uri="{FF2B5EF4-FFF2-40B4-BE49-F238E27FC236}">
                  <a16:creationId xmlns:a16="http://schemas.microsoft.com/office/drawing/2014/main" id="{12B717AF-BFB6-48AA-B3D1-DA74E5BFB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2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99" name="Oval 29">
              <a:extLst>
                <a:ext uri="{FF2B5EF4-FFF2-40B4-BE49-F238E27FC236}">
                  <a16:creationId xmlns:a16="http://schemas.microsoft.com/office/drawing/2014/main" id="{0141BF75-1FC9-4E36-9A01-2107A5AB4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2075"/>
              <a:ext cx="172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  <p:sp>
          <p:nvSpPr>
            <p:cNvPr id="100" name="Oval 30">
              <a:extLst>
                <a:ext uri="{FF2B5EF4-FFF2-40B4-BE49-F238E27FC236}">
                  <a16:creationId xmlns:a16="http://schemas.microsoft.com/office/drawing/2014/main" id="{0CEA2107-5280-440B-85A4-FADC101B25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2075"/>
              <a:ext cx="169" cy="17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152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497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95D6E070-8E99-4CCA-9BEF-9BD03CB747A2}"/>
              </a:ext>
            </a:extLst>
          </p:cNvPr>
          <p:cNvSpPr/>
          <p:nvPr/>
        </p:nvSpPr>
        <p:spPr>
          <a:xfrm>
            <a:off x="6995704" y="2381841"/>
            <a:ext cx="3452116" cy="3774211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58BADC-DD40-4960-AAA4-2BE98F01C8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58BADC-DD40-4960-AAA4-2BE98F01C8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Espaço Reservado para Texto 45">
            <a:extLst>
              <a:ext uri="{FF2B5EF4-FFF2-40B4-BE49-F238E27FC236}">
                <a16:creationId xmlns:a16="http://schemas.microsoft.com/office/drawing/2014/main" id="{899AE888-BD44-4F22-AE65-6681B891761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 rot="10800000" flipV="1">
            <a:off x="13148182" y="3563133"/>
            <a:ext cx="358404" cy="45719"/>
          </a:xfrm>
        </p:spPr>
        <p:txBody>
          <a:bodyPr/>
          <a:lstStyle/>
          <a:p>
            <a:endParaRPr lang="pt-BR"/>
          </a:p>
        </p:txBody>
      </p:sp>
      <p:pic>
        <p:nvPicPr>
          <p:cNvPr id="56" name="Espaço Reservado para Imagem 55" descr="Mulher sentada em frente a mesa com computador&#10;&#10;Descrição gerada automaticamente">
            <a:extLst>
              <a:ext uri="{FF2B5EF4-FFF2-40B4-BE49-F238E27FC236}">
                <a16:creationId xmlns:a16="http://schemas.microsoft.com/office/drawing/2014/main" id="{BDF79131-E6A6-43D8-A82C-79A22777C690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" t="67224" r="44" b="8876"/>
          <a:stretch/>
        </p:blipFill>
        <p:spPr>
          <a:xfrm>
            <a:off x="-601885" y="168253"/>
            <a:ext cx="10891779" cy="1734975"/>
          </a:xfrm>
        </p:spPr>
      </p:pic>
      <p:sp>
        <p:nvSpPr>
          <p:cNvPr id="52" name="Espaço Reservado para Texto 51">
            <a:extLst>
              <a:ext uri="{FF2B5EF4-FFF2-40B4-BE49-F238E27FC236}">
                <a16:creationId xmlns:a16="http://schemas.microsoft.com/office/drawing/2014/main" id="{66476B03-2B31-48D5-8267-695F1D192A6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1" name="Título 40">
            <a:extLst>
              <a:ext uri="{FF2B5EF4-FFF2-40B4-BE49-F238E27FC236}">
                <a16:creationId xmlns:a16="http://schemas.microsoft.com/office/drawing/2014/main" id="{F4CA5058-DC6D-464D-8EE4-AE6516983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176" y="1550099"/>
            <a:ext cx="8475487" cy="616960"/>
          </a:xfrm>
        </p:spPr>
        <p:txBody>
          <a:bodyPr/>
          <a:lstStyle/>
          <a:p>
            <a:endParaRPr lang="pt-BR" sz="4400" dirty="0">
              <a:latin typeface="Vivo Type" panose="02000500000000020000" pitchFamily="50" charset="0"/>
              <a:cs typeface="Vivo Type" panose="02000500000000020000" pitchFamily="50" charset="0"/>
            </a:endParaRPr>
          </a:p>
        </p:txBody>
      </p:sp>
      <p:sp>
        <p:nvSpPr>
          <p:cNvPr id="35" name="Retângulo: Cantos Arredondados 34">
            <a:extLst>
              <a:ext uri="{FF2B5EF4-FFF2-40B4-BE49-F238E27FC236}">
                <a16:creationId xmlns:a16="http://schemas.microsoft.com/office/drawing/2014/main" id="{9AFBBF12-0887-4F97-9343-15A346A224BD}"/>
              </a:ext>
            </a:extLst>
          </p:cNvPr>
          <p:cNvSpPr/>
          <p:nvPr/>
        </p:nvSpPr>
        <p:spPr>
          <a:xfrm>
            <a:off x="6995704" y="2381505"/>
            <a:ext cx="3452116" cy="4616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ivo Type" panose="02000500000000020000" pitchFamily="50" charset="0"/>
              <a:cs typeface="Vivo Type" panose="02000500000000020000" pitchFamily="50" charset="0"/>
            </a:endParaRPr>
          </a:p>
        </p:txBody>
      </p:sp>
      <p:sp>
        <p:nvSpPr>
          <p:cNvPr id="81" name="Google Shape;434;g1075033a081_0_371">
            <a:extLst>
              <a:ext uri="{FF2B5EF4-FFF2-40B4-BE49-F238E27FC236}">
                <a16:creationId xmlns:a16="http://schemas.microsoft.com/office/drawing/2014/main" id="{58DA49B9-78EF-4A6C-8FE6-83FE6091FD7F}"/>
              </a:ext>
            </a:extLst>
          </p:cNvPr>
          <p:cNvSpPr txBox="1">
            <a:spLocks/>
          </p:cNvSpPr>
          <p:nvPr/>
        </p:nvSpPr>
        <p:spPr>
          <a:xfrm>
            <a:off x="8721762" y="8276693"/>
            <a:ext cx="2740620" cy="19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lnSpc>
                <a:spcPct val="85000"/>
              </a:lnSpc>
              <a:defRPr sz="800">
                <a:latin typeface="Officina Serif ITC TT" panose="00000400000000000000" pitchFamily="2" charset="0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0" marR="0" lvl="0" indent="0" algn="l" defTabSz="1088261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Officina Serif ITC TT" panose="00000400000000000000" pitchFamily="2" charset="0"/>
                <a:ea typeface="+mn-ea"/>
                <a:cs typeface="+mn-cs"/>
                <a:sym typeface="Roboto Light"/>
              </a:rPr>
              <a:t>Fonte: Censo Escolar 2020 – Inep/MEC</a:t>
            </a:r>
          </a:p>
        </p:txBody>
      </p:sp>
      <p:pic>
        <p:nvPicPr>
          <p:cNvPr id="22" name="Gráfico 21" descr="Professor">
            <a:extLst>
              <a:ext uri="{FF2B5EF4-FFF2-40B4-BE49-F238E27FC236}">
                <a16:creationId xmlns:a16="http://schemas.microsoft.com/office/drawing/2014/main" id="{4E14BD79-CAB4-42E8-93EA-35319EDF7F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5112" y="2302467"/>
            <a:ext cx="540703" cy="540703"/>
          </a:xfrm>
          <a:prstGeom prst="rect">
            <a:avLst/>
          </a:prstGeom>
        </p:spPr>
      </p:pic>
      <p:pic>
        <p:nvPicPr>
          <p:cNvPr id="24" name="Gráfico 23" descr="Troféu">
            <a:extLst>
              <a:ext uri="{FF2B5EF4-FFF2-40B4-BE49-F238E27FC236}">
                <a16:creationId xmlns:a16="http://schemas.microsoft.com/office/drawing/2014/main" id="{701C1311-9B77-4012-BEDB-A51B88D2D68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0177" y="5681838"/>
            <a:ext cx="540703" cy="540703"/>
          </a:xfrm>
          <a:prstGeom prst="rect">
            <a:avLst/>
          </a:prstGeom>
        </p:spPr>
      </p:pic>
      <p:pic>
        <p:nvPicPr>
          <p:cNvPr id="31" name="Gráfico 30" descr="Programador">
            <a:extLst>
              <a:ext uri="{FF2B5EF4-FFF2-40B4-BE49-F238E27FC236}">
                <a16:creationId xmlns:a16="http://schemas.microsoft.com/office/drawing/2014/main" id="{0D7E3CF7-7163-41E5-932A-8C8494310E9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4460" y="3126039"/>
            <a:ext cx="540703" cy="540703"/>
          </a:xfrm>
          <a:prstGeom prst="rect">
            <a:avLst/>
          </a:prstGeom>
        </p:spPr>
      </p:pic>
      <p:pic>
        <p:nvPicPr>
          <p:cNvPr id="33" name="Gráfico 32" descr="Crescimento da Empresa">
            <a:extLst>
              <a:ext uri="{FF2B5EF4-FFF2-40B4-BE49-F238E27FC236}">
                <a16:creationId xmlns:a16="http://schemas.microsoft.com/office/drawing/2014/main" id="{E4A8D8C4-E966-4E84-941B-00F10118CA0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9896" y="4880646"/>
            <a:ext cx="541097" cy="541097"/>
          </a:xfrm>
          <a:prstGeom prst="rect">
            <a:avLst/>
          </a:prstGeom>
        </p:spPr>
      </p:pic>
      <p:pic>
        <p:nvPicPr>
          <p:cNvPr id="37" name="Gráfico 36" descr="Lista">
            <a:extLst>
              <a:ext uri="{FF2B5EF4-FFF2-40B4-BE49-F238E27FC236}">
                <a16:creationId xmlns:a16="http://schemas.microsoft.com/office/drawing/2014/main" id="{8EB4F94B-A800-4E71-9E3C-40906F5A4A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9896" y="4008957"/>
            <a:ext cx="541097" cy="54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36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74902774-E89B-47CC-A959-6DD5BA5A0A96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5900EA4-C67A-4A83-A028-056EA25797AB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00ECD2FC-4975-47B2-8F08-240E4450D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221" y="533971"/>
            <a:ext cx="11086488" cy="650554"/>
          </a:xfrm>
        </p:spPr>
        <p:txBody>
          <a:bodyPr/>
          <a:lstStyle/>
          <a:p>
            <a:endParaRPr lang="pt-BR" sz="4200" dirty="0">
              <a:latin typeface="Vivo Type" panose="02000500000000020000" pitchFamily="50" charset="0"/>
              <a:cs typeface="Vivo Type" panose="02000500000000020000" pitchFamily="50" charset="0"/>
            </a:endParaRP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78C715C-3C61-4170-81E1-C76CECD0BA91}"/>
              </a:ext>
            </a:extLst>
          </p:cNvPr>
          <p:cNvSpPr>
            <a:spLocks noGrp="1"/>
          </p:cNvSpPr>
          <p:nvPr>
            <p:ph type="body" sz="quarter" idx="107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97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tângulo 60">
            <a:extLst>
              <a:ext uri="{FF2B5EF4-FFF2-40B4-BE49-F238E27FC236}">
                <a16:creationId xmlns:a16="http://schemas.microsoft.com/office/drawing/2014/main" id="{2171355D-01A7-40CB-865B-F2D0D14FAD64}"/>
              </a:ext>
            </a:extLst>
          </p:cNvPr>
          <p:cNvSpPr/>
          <p:nvPr/>
        </p:nvSpPr>
        <p:spPr>
          <a:xfrm>
            <a:off x="0" y="2462146"/>
            <a:ext cx="6153150" cy="1933709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98" name="Agrupar 97">
            <a:extLst>
              <a:ext uri="{FF2B5EF4-FFF2-40B4-BE49-F238E27FC236}">
                <a16:creationId xmlns:a16="http://schemas.microsoft.com/office/drawing/2014/main" id="{4A0A4D27-C544-4FFF-9D3F-4401CC5C5404}"/>
              </a:ext>
            </a:extLst>
          </p:cNvPr>
          <p:cNvGrpSpPr/>
          <p:nvPr/>
        </p:nvGrpSpPr>
        <p:grpSpPr>
          <a:xfrm>
            <a:off x="1924050" y="838771"/>
            <a:ext cx="5943600" cy="6457379"/>
            <a:chOff x="1924050" y="838771"/>
            <a:chExt cx="5943600" cy="6457379"/>
          </a:xfrm>
        </p:grpSpPr>
        <p:sp>
          <p:nvSpPr>
            <p:cNvPr id="7" name="Retângulo: Cantos Arredondados 6">
              <a:extLst>
                <a:ext uri="{FF2B5EF4-FFF2-40B4-BE49-F238E27FC236}">
                  <a16:creationId xmlns:a16="http://schemas.microsoft.com/office/drawing/2014/main" id="{1B199DC1-97CD-4858-8276-D2FC17F8150D}"/>
                </a:ext>
              </a:extLst>
            </p:cNvPr>
            <p:cNvSpPr/>
            <p:nvPr/>
          </p:nvSpPr>
          <p:spPr>
            <a:xfrm>
              <a:off x="4953000" y="927100"/>
              <a:ext cx="2286000" cy="4864100"/>
            </a:xfrm>
            <a:prstGeom prst="roundRect">
              <a:avLst>
                <a:gd name="adj" fmla="val 10000"/>
              </a:avLst>
            </a:prstGeom>
            <a:solidFill>
              <a:srgbClr val="66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3" name="Imagem 2" descr="Mão segurando celular&#10;&#10;Descrição gerada automaticamente">
              <a:extLst>
                <a:ext uri="{FF2B5EF4-FFF2-40B4-BE49-F238E27FC236}">
                  <a16:creationId xmlns:a16="http://schemas.microsoft.com/office/drawing/2014/main" id="{F268F3B5-4246-430F-B51F-BFE429A0A7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1924050" y="838771"/>
              <a:ext cx="5943600" cy="6457379"/>
            </a:xfrm>
            <a:prstGeom prst="rect">
              <a:avLst/>
            </a:prstGeom>
          </p:spPr>
        </p:pic>
      </p:grpSp>
      <p:sp>
        <p:nvSpPr>
          <p:cNvPr id="48" name="Rectangle 152">
            <a:extLst>
              <a:ext uri="{FF2B5EF4-FFF2-40B4-BE49-F238E27FC236}">
                <a16:creationId xmlns:a16="http://schemas.microsoft.com/office/drawing/2014/main" id="{A5F81E55-35CD-4105-867D-23AF549FEE93}"/>
              </a:ext>
            </a:extLst>
          </p:cNvPr>
          <p:cNvSpPr/>
          <p:nvPr/>
        </p:nvSpPr>
        <p:spPr>
          <a:xfrm>
            <a:off x="8636239" y="1596857"/>
            <a:ext cx="3151175" cy="31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463">
              <a:lnSpc>
                <a:spcPct val="85000"/>
              </a:lnSpc>
            </a:pPr>
            <a:r>
              <a:rPr lang="pt-PT" sz="1700">
                <a:solidFill>
                  <a:srgbClr val="666666"/>
                </a:solidFill>
                <a:latin typeface="Vivo Type" panose="02000500000000020000" pitchFamily="50" charset="0"/>
                <a:cs typeface="Vivo Type" panose="02000500000000020000" pitchFamily="50" charset="0"/>
                <a:sym typeface="Telefonica Headline Light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dacaotelefonicavivo.org.br</a:t>
            </a:r>
            <a:r>
              <a:rPr lang="pt-PT" altLang="pt-PT" sz="1700">
                <a:solidFill>
                  <a:srgbClr val="666666"/>
                </a:solidFill>
                <a:latin typeface="Vivo Type" panose="02000500000000020000" pitchFamily="50" charset="0"/>
                <a:cs typeface="Vivo Type" panose="02000500000000020000" pitchFamily="50" charset="0"/>
              </a:rPr>
              <a:t> </a:t>
            </a:r>
          </a:p>
        </p:txBody>
      </p:sp>
      <p:sp>
        <p:nvSpPr>
          <p:cNvPr id="49" name="Rectangle 197">
            <a:extLst>
              <a:ext uri="{FF2B5EF4-FFF2-40B4-BE49-F238E27FC236}">
                <a16:creationId xmlns:a16="http://schemas.microsoft.com/office/drawing/2014/main" id="{3D48D563-21AB-4CEA-B6FA-1D01122B9D45}"/>
              </a:ext>
            </a:extLst>
          </p:cNvPr>
          <p:cNvSpPr/>
          <p:nvPr/>
        </p:nvSpPr>
        <p:spPr>
          <a:xfrm>
            <a:off x="8636239" y="4955799"/>
            <a:ext cx="2193232" cy="3279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17448">
              <a:lnSpc>
                <a:spcPct val="85000"/>
              </a:lnSpc>
              <a:defRPr/>
            </a:pPr>
            <a:r>
              <a:rPr lang="pt-PT" sz="1700">
                <a:solidFill>
                  <a:srgbClr val="666666"/>
                </a:solidFill>
                <a:latin typeface="Vivo Type" panose="02000500000000020000" pitchFamily="50" charset="0"/>
                <a:cs typeface="Vivo Type" panose="02000500000000020000" pitchFamily="50" charset="0"/>
                <a:sym typeface="Telefonica Headline Light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telefonicavivo</a:t>
            </a:r>
            <a:endParaRPr lang="pt-PT" sz="1700">
              <a:solidFill>
                <a:srgbClr val="666666"/>
              </a:solidFill>
              <a:latin typeface="Vivo Type" panose="02000500000000020000" pitchFamily="50" charset="0"/>
              <a:cs typeface="Vivo Type" panose="02000500000000020000" pitchFamily="50" charset="0"/>
              <a:sym typeface="Telefonica Headline Light" pitchFamily="2" charset="0"/>
            </a:endParaRPr>
          </a:p>
        </p:txBody>
      </p:sp>
      <p:sp>
        <p:nvSpPr>
          <p:cNvPr id="50" name="Rectangle 195">
            <a:extLst>
              <a:ext uri="{FF2B5EF4-FFF2-40B4-BE49-F238E27FC236}">
                <a16:creationId xmlns:a16="http://schemas.microsoft.com/office/drawing/2014/main" id="{79CD2B9E-2CF7-4347-9BD9-1159475AAF5E}"/>
              </a:ext>
            </a:extLst>
          </p:cNvPr>
          <p:cNvSpPr/>
          <p:nvPr/>
        </p:nvSpPr>
        <p:spPr>
          <a:xfrm>
            <a:off x="8636239" y="3277621"/>
            <a:ext cx="2715747" cy="317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463">
              <a:lnSpc>
                <a:spcPct val="85000"/>
              </a:lnSpc>
            </a:pPr>
            <a:r>
              <a:rPr lang="pt-PT" sz="1700">
                <a:solidFill>
                  <a:srgbClr val="666666"/>
                </a:solidFill>
                <a:latin typeface="Vivo Type" panose="02000500000000020000" pitchFamily="50" charset="0"/>
                <a:cs typeface="Vivo Type" panose="02000500000000020000" pitchFamily="50" charset="0"/>
                <a:sym typeface="Telefonica Headline Light" pitchFamily="2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dacaotelefonicavivo</a:t>
            </a:r>
            <a:endParaRPr lang="pt-PT" sz="1700">
              <a:solidFill>
                <a:srgbClr val="666666"/>
              </a:solidFill>
              <a:latin typeface="Vivo Type" panose="02000500000000020000" pitchFamily="50" charset="0"/>
              <a:cs typeface="Vivo Type" panose="02000500000000020000" pitchFamily="50" charset="0"/>
              <a:sym typeface="Telefonica Headline Light" pitchFamily="2" charset="0"/>
            </a:endParaRPr>
          </a:p>
        </p:txBody>
      </p:sp>
      <p:sp>
        <p:nvSpPr>
          <p:cNvPr id="51" name="Rectangle 191">
            <a:extLst>
              <a:ext uri="{FF2B5EF4-FFF2-40B4-BE49-F238E27FC236}">
                <a16:creationId xmlns:a16="http://schemas.microsoft.com/office/drawing/2014/main" id="{DF098B02-3D56-4872-8787-AF1A30A8EC38}"/>
              </a:ext>
            </a:extLst>
          </p:cNvPr>
          <p:cNvSpPr/>
          <p:nvPr/>
        </p:nvSpPr>
        <p:spPr>
          <a:xfrm>
            <a:off x="8636240" y="2437239"/>
            <a:ext cx="2701232" cy="32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463">
              <a:lnSpc>
                <a:spcPct val="85000"/>
              </a:lnSpc>
            </a:pPr>
            <a:r>
              <a:rPr lang="pt-PT" sz="1700">
                <a:solidFill>
                  <a:srgbClr val="666666"/>
                </a:solidFill>
                <a:latin typeface="Vivo Type" panose="02000500000000020000" pitchFamily="50" charset="0"/>
                <a:cs typeface="Vivo Type" panose="02000500000000020000" pitchFamily="50" charset="0"/>
                <a:sym typeface="Telefonica Headline Light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dacaotelefonicavivo</a:t>
            </a:r>
            <a:endParaRPr lang="pt-PT" sz="1700">
              <a:solidFill>
                <a:srgbClr val="666666"/>
              </a:solidFill>
              <a:latin typeface="Vivo Type" panose="02000500000000020000" pitchFamily="50" charset="0"/>
              <a:cs typeface="Vivo Type" panose="02000500000000020000" pitchFamily="50" charset="0"/>
              <a:sym typeface="Telefonica Headline Light" pitchFamily="2" charset="0"/>
            </a:endParaRPr>
          </a:p>
        </p:txBody>
      </p:sp>
      <p:sp>
        <p:nvSpPr>
          <p:cNvPr id="52" name="Rectangle 191">
            <a:hlinkClick r:id="rId7"/>
            <a:extLst>
              <a:ext uri="{FF2B5EF4-FFF2-40B4-BE49-F238E27FC236}">
                <a16:creationId xmlns:a16="http://schemas.microsoft.com/office/drawing/2014/main" id="{649E050B-8D56-4F55-A75A-5DEA4ADEDDEA}"/>
              </a:ext>
            </a:extLst>
          </p:cNvPr>
          <p:cNvSpPr/>
          <p:nvPr/>
        </p:nvSpPr>
        <p:spPr>
          <a:xfrm>
            <a:off x="8636239" y="4115416"/>
            <a:ext cx="2628661" cy="32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463">
              <a:lnSpc>
                <a:spcPct val="85000"/>
              </a:lnSpc>
            </a:pPr>
            <a:r>
              <a:rPr lang="pt-PT" sz="1700">
                <a:solidFill>
                  <a:srgbClr val="666666"/>
                </a:solidFill>
                <a:latin typeface="Vivo Type" panose="02000500000000020000" pitchFamily="50" charset="0"/>
                <a:cs typeface="Vivo Type" panose="02000500000000020000" pitchFamily="50" charset="0"/>
                <a:sym typeface="Telefonica Headline Light" pitchFamily="2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undacaotelefonicavivo</a:t>
            </a:r>
            <a:endParaRPr lang="pt-PT" sz="1700">
              <a:solidFill>
                <a:srgbClr val="666666"/>
              </a:solidFill>
              <a:latin typeface="Vivo Type" panose="02000500000000020000" pitchFamily="50" charset="0"/>
              <a:cs typeface="Vivo Type" panose="02000500000000020000" pitchFamily="50" charset="0"/>
              <a:sym typeface="Telefonica Headline Light" pitchFamily="2" charset="0"/>
            </a:endParaRPr>
          </a:p>
        </p:txBody>
      </p:sp>
      <p:grpSp>
        <p:nvGrpSpPr>
          <p:cNvPr id="99" name="Agrupar 98">
            <a:extLst>
              <a:ext uri="{FF2B5EF4-FFF2-40B4-BE49-F238E27FC236}">
                <a16:creationId xmlns:a16="http://schemas.microsoft.com/office/drawing/2014/main" id="{7EDE298A-FD8C-456A-B6C6-98F72204B624}"/>
              </a:ext>
            </a:extLst>
          </p:cNvPr>
          <p:cNvGrpSpPr/>
          <p:nvPr/>
        </p:nvGrpSpPr>
        <p:grpSpPr>
          <a:xfrm>
            <a:off x="7696094" y="1426560"/>
            <a:ext cx="762673" cy="633944"/>
            <a:chOff x="7696094" y="1426560"/>
            <a:chExt cx="762673" cy="633944"/>
          </a:xfrm>
        </p:grpSpPr>
        <p:sp>
          <p:nvSpPr>
            <p:cNvPr id="67" name="Retângulo 66">
              <a:extLst>
                <a:ext uri="{FF2B5EF4-FFF2-40B4-BE49-F238E27FC236}">
                  <a16:creationId xmlns:a16="http://schemas.microsoft.com/office/drawing/2014/main" id="{C8EB2E96-C7B5-44E3-A53E-33A38319A85C}"/>
                </a:ext>
              </a:extLst>
            </p:cNvPr>
            <p:cNvSpPr/>
            <p:nvPr/>
          </p:nvSpPr>
          <p:spPr>
            <a:xfrm>
              <a:off x="7696094" y="1426560"/>
              <a:ext cx="633944" cy="633944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pSp>
          <p:nvGrpSpPr>
            <p:cNvPr id="84" name="Agrupar 83">
              <a:extLst>
                <a:ext uri="{FF2B5EF4-FFF2-40B4-BE49-F238E27FC236}">
                  <a16:creationId xmlns:a16="http://schemas.microsoft.com/office/drawing/2014/main" id="{0D543616-F52A-40F9-9512-8E88F5666C83}"/>
                </a:ext>
              </a:extLst>
            </p:cNvPr>
            <p:cNvGrpSpPr/>
            <p:nvPr/>
          </p:nvGrpSpPr>
          <p:grpSpPr>
            <a:xfrm>
              <a:off x="7927977" y="1485900"/>
              <a:ext cx="530790" cy="530790"/>
              <a:chOff x="7975601" y="1493044"/>
              <a:chExt cx="530790" cy="530790"/>
            </a:xfrm>
          </p:grpSpPr>
          <p:sp>
            <p:nvSpPr>
              <p:cNvPr id="83" name="Elipse 82">
                <a:extLst>
                  <a:ext uri="{FF2B5EF4-FFF2-40B4-BE49-F238E27FC236}">
                    <a16:creationId xmlns:a16="http://schemas.microsoft.com/office/drawing/2014/main" id="{81393618-3211-4EAA-9D7D-5B3FA1258290}"/>
                  </a:ext>
                </a:extLst>
              </p:cNvPr>
              <p:cNvSpPr/>
              <p:nvPr/>
            </p:nvSpPr>
            <p:spPr>
              <a:xfrm>
                <a:off x="7975601" y="1493044"/>
                <a:ext cx="530790" cy="53079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pic>
            <p:nvPicPr>
              <p:cNvPr id="17" name="Gráfico 16">
                <a:extLst>
                  <a:ext uri="{FF2B5EF4-FFF2-40B4-BE49-F238E27FC236}">
                    <a16:creationId xmlns:a16="http://schemas.microsoft.com/office/drawing/2014/main" id="{F8E29989-1A19-4BD0-8C87-BE4D65C691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8010780" y="1528223"/>
                <a:ext cx="460433" cy="460433"/>
              </a:xfrm>
              <a:prstGeom prst="rect">
                <a:avLst/>
              </a:prstGeom>
            </p:spPr>
          </p:pic>
        </p:grpSp>
      </p:grpSp>
      <p:grpSp>
        <p:nvGrpSpPr>
          <p:cNvPr id="116" name="Agrupar 115">
            <a:extLst>
              <a:ext uri="{FF2B5EF4-FFF2-40B4-BE49-F238E27FC236}">
                <a16:creationId xmlns:a16="http://schemas.microsoft.com/office/drawing/2014/main" id="{D4A36010-288D-47CB-97A7-6CAE52E780D9}"/>
              </a:ext>
            </a:extLst>
          </p:cNvPr>
          <p:cNvGrpSpPr/>
          <p:nvPr/>
        </p:nvGrpSpPr>
        <p:grpSpPr>
          <a:xfrm>
            <a:off x="7696094" y="2272383"/>
            <a:ext cx="754962" cy="633944"/>
            <a:chOff x="7696094" y="2272383"/>
            <a:chExt cx="754962" cy="633944"/>
          </a:xfrm>
        </p:grpSpPr>
        <p:sp>
          <p:nvSpPr>
            <p:cNvPr id="68" name="Retângulo 67">
              <a:extLst>
                <a:ext uri="{FF2B5EF4-FFF2-40B4-BE49-F238E27FC236}">
                  <a16:creationId xmlns:a16="http://schemas.microsoft.com/office/drawing/2014/main" id="{2BE758FE-6908-412B-84BA-3C14CACF3402}"/>
                </a:ext>
              </a:extLst>
            </p:cNvPr>
            <p:cNvSpPr/>
            <p:nvPr/>
          </p:nvSpPr>
          <p:spPr>
            <a:xfrm>
              <a:off x="7696094" y="2272383"/>
              <a:ext cx="633944" cy="633944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pSp>
          <p:nvGrpSpPr>
            <p:cNvPr id="86" name="Agrupar 85">
              <a:extLst>
                <a:ext uri="{FF2B5EF4-FFF2-40B4-BE49-F238E27FC236}">
                  <a16:creationId xmlns:a16="http://schemas.microsoft.com/office/drawing/2014/main" id="{C4240C0D-69A5-42DB-9429-EB14E6B3B749}"/>
                </a:ext>
              </a:extLst>
            </p:cNvPr>
            <p:cNvGrpSpPr/>
            <p:nvPr/>
          </p:nvGrpSpPr>
          <p:grpSpPr>
            <a:xfrm>
              <a:off x="7927182" y="2324101"/>
              <a:ext cx="523874" cy="523874"/>
              <a:chOff x="7866857" y="2305051"/>
              <a:chExt cx="558006" cy="558006"/>
            </a:xfrm>
          </p:grpSpPr>
          <p:sp>
            <p:nvSpPr>
              <p:cNvPr id="85" name="Retângulo: Cantos Arredondados 84">
                <a:extLst>
                  <a:ext uri="{FF2B5EF4-FFF2-40B4-BE49-F238E27FC236}">
                    <a16:creationId xmlns:a16="http://schemas.microsoft.com/office/drawing/2014/main" id="{D846B83E-C67C-4DC3-81A7-042DEC4EF073}"/>
                  </a:ext>
                </a:extLst>
              </p:cNvPr>
              <p:cNvSpPr/>
              <p:nvPr/>
            </p:nvSpPr>
            <p:spPr>
              <a:xfrm>
                <a:off x="7866857" y="2305051"/>
                <a:ext cx="558006" cy="558006"/>
              </a:xfrm>
              <a:prstGeom prst="roundRect">
                <a:avLst>
                  <a:gd name="adj" fmla="val 6344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pic>
            <p:nvPicPr>
              <p:cNvPr id="43" name="Graphic 75">
                <a:extLst>
                  <a:ext uri="{FF2B5EF4-FFF2-40B4-BE49-F238E27FC236}">
                    <a16:creationId xmlns:a16="http://schemas.microsoft.com/office/drawing/2014/main" id="{847E1DF6-3928-464D-9AAD-4CC3DF66FC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914501" y="2352695"/>
                <a:ext cx="462717" cy="462717"/>
              </a:xfrm>
              <a:prstGeom prst="rect">
                <a:avLst/>
              </a:prstGeom>
            </p:spPr>
          </p:pic>
        </p:grpSp>
      </p:grpSp>
      <p:grpSp>
        <p:nvGrpSpPr>
          <p:cNvPr id="117" name="Agrupar 116">
            <a:extLst>
              <a:ext uri="{FF2B5EF4-FFF2-40B4-BE49-F238E27FC236}">
                <a16:creationId xmlns:a16="http://schemas.microsoft.com/office/drawing/2014/main" id="{F18ECA88-8B09-4A17-B486-86C70970BB67}"/>
              </a:ext>
            </a:extLst>
          </p:cNvPr>
          <p:cNvGrpSpPr/>
          <p:nvPr/>
        </p:nvGrpSpPr>
        <p:grpSpPr>
          <a:xfrm>
            <a:off x="7696094" y="3118206"/>
            <a:ext cx="725440" cy="633944"/>
            <a:chOff x="7696094" y="3118206"/>
            <a:chExt cx="725440" cy="633944"/>
          </a:xfrm>
        </p:grpSpPr>
        <p:sp>
          <p:nvSpPr>
            <p:cNvPr id="69" name="Retângulo 68">
              <a:extLst>
                <a:ext uri="{FF2B5EF4-FFF2-40B4-BE49-F238E27FC236}">
                  <a16:creationId xmlns:a16="http://schemas.microsoft.com/office/drawing/2014/main" id="{E482F3A9-A2E3-4D06-9089-CDE16A4C3157}"/>
                </a:ext>
              </a:extLst>
            </p:cNvPr>
            <p:cNvSpPr/>
            <p:nvPr/>
          </p:nvSpPr>
          <p:spPr>
            <a:xfrm>
              <a:off x="7696094" y="3118206"/>
              <a:ext cx="633944" cy="633944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pSp>
          <p:nvGrpSpPr>
            <p:cNvPr id="87" name="Agrupar 86">
              <a:extLst>
                <a:ext uri="{FF2B5EF4-FFF2-40B4-BE49-F238E27FC236}">
                  <a16:creationId xmlns:a16="http://schemas.microsoft.com/office/drawing/2014/main" id="{A9A9BC6A-5BE6-4572-A0AD-8620615513A0}"/>
                </a:ext>
              </a:extLst>
            </p:cNvPr>
            <p:cNvGrpSpPr/>
            <p:nvPr/>
          </p:nvGrpSpPr>
          <p:grpSpPr>
            <a:xfrm>
              <a:off x="7934209" y="3200400"/>
              <a:ext cx="487325" cy="487325"/>
              <a:chOff x="7956831" y="3208735"/>
              <a:chExt cx="507565" cy="507565"/>
            </a:xfrm>
          </p:grpSpPr>
          <p:sp>
            <p:nvSpPr>
              <p:cNvPr id="89" name="Retângulo: Cantos Arredondados 88">
                <a:extLst>
                  <a:ext uri="{FF2B5EF4-FFF2-40B4-BE49-F238E27FC236}">
                    <a16:creationId xmlns:a16="http://schemas.microsoft.com/office/drawing/2014/main" id="{B061A5C8-536A-4DB8-8B7D-3211E62A5878}"/>
                  </a:ext>
                </a:extLst>
              </p:cNvPr>
              <p:cNvSpPr/>
              <p:nvPr/>
            </p:nvSpPr>
            <p:spPr>
              <a:xfrm>
                <a:off x="7990682" y="3248026"/>
                <a:ext cx="442118" cy="442118"/>
              </a:xfrm>
              <a:prstGeom prst="roundRect">
                <a:avLst>
                  <a:gd name="adj" fmla="val 19677"/>
                </a:avLst>
              </a:prstGeom>
              <a:solidFill>
                <a:srgbClr val="F36D2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pic>
            <p:nvPicPr>
              <p:cNvPr id="44" name="Graphic 81">
                <a:extLst>
                  <a:ext uri="{FF2B5EF4-FFF2-40B4-BE49-F238E27FC236}">
                    <a16:creationId xmlns:a16="http://schemas.microsoft.com/office/drawing/2014/main" id="{1E408C56-BE5F-4516-A8CC-42081ADA16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956831" y="3208735"/>
                <a:ext cx="507565" cy="507565"/>
              </a:xfrm>
              <a:prstGeom prst="rect">
                <a:avLst/>
              </a:prstGeom>
            </p:spPr>
          </p:pic>
        </p:grpSp>
      </p:grpSp>
      <p:grpSp>
        <p:nvGrpSpPr>
          <p:cNvPr id="118" name="Agrupar 117">
            <a:extLst>
              <a:ext uri="{FF2B5EF4-FFF2-40B4-BE49-F238E27FC236}">
                <a16:creationId xmlns:a16="http://schemas.microsoft.com/office/drawing/2014/main" id="{8F459A3B-D4E1-48A3-BA03-9ADB31AD4FE7}"/>
              </a:ext>
            </a:extLst>
          </p:cNvPr>
          <p:cNvGrpSpPr/>
          <p:nvPr/>
        </p:nvGrpSpPr>
        <p:grpSpPr>
          <a:xfrm>
            <a:off x="7696094" y="3964029"/>
            <a:ext cx="728768" cy="633944"/>
            <a:chOff x="7696094" y="3964029"/>
            <a:chExt cx="728768" cy="633944"/>
          </a:xfrm>
        </p:grpSpPr>
        <p:sp>
          <p:nvSpPr>
            <p:cNvPr id="70" name="Retângulo 69">
              <a:extLst>
                <a:ext uri="{FF2B5EF4-FFF2-40B4-BE49-F238E27FC236}">
                  <a16:creationId xmlns:a16="http://schemas.microsoft.com/office/drawing/2014/main" id="{92C38D77-9D0B-416F-B8E9-45CA1391B818}"/>
                </a:ext>
              </a:extLst>
            </p:cNvPr>
            <p:cNvSpPr/>
            <p:nvPr/>
          </p:nvSpPr>
          <p:spPr>
            <a:xfrm>
              <a:off x="7696094" y="3964029"/>
              <a:ext cx="633944" cy="633944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pSp>
          <p:nvGrpSpPr>
            <p:cNvPr id="92" name="Agrupar 91">
              <a:extLst>
                <a:ext uri="{FF2B5EF4-FFF2-40B4-BE49-F238E27FC236}">
                  <a16:creationId xmlns:a16="http://schemas.microsoft.com/office/drawing/2014/main" id="{88465E9F-2CCF-402C-A087-7B7BDE5D7857}"/>
                </a:ext>
              </a:extLst>
            </p:cNvPr>
            <p:cNvGrpSpPr/>
            <p:nvPr/>
          </p:nvGrpSpPr>
          <p:grpSpPr>
            <a:xfrm>
              <a:off x="7888403" y="4000500"/>
              <a:ext cx="536459" cy="575711"/>
              <a:chOff x="5753100" y="1697050"/>
              <a:chExt cx="1041400" cy="1117600"/>
            </a:xfrm>
          </p:grpSpPr>
          <p:pic>
            <p:nvPicPr>
              <p:cNvPr id="93" name="Gráfico 92">
                <a:extLst>
                  <a:ext uri="{FF2B5EF4-FFF2-40B4-BE49-F238E27FC236}">
                    <a16:creationId xmlns:a16="http://schemas.microsoft.com/office/drawing/2014/main" id="{1EDCD689-F28B-43C0-8F32-DE6717BE8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753100" y="1697050"/>
                <a:ext cx="1041400" cy="1117600"/>
              </a:xfrm>
              <a:prstGeom prst="rect">
                <a:avLst/>
              </a:prstGeom>
            </p:spPr>
          </p:pic>
          <p:sp>
            <p:nvSpPr>
              <p:cNvPr id="91" name="Retângulo 90">
                <a:extLst>
                  <a:ext uri="{FF2B5EF4-FFF2-40B4-BE49-F238E27FC236}">
                    <a16:creationId xmlns:a16="http://schemas.microsoft.com/office/drawing/2014/main" id="{A48E473D-3AF7-49CE-BB4D-AEFAA10D292B}"/>
                  </a:ext>
                </a:extLst>
              </p:cNvPr>
              <p:cNvSpPr/>
              <p:nvPr/>
            </p:nvSpPr>
            <p:spPr>
              <a:xfrm>
                <a:off x="6073140" y="2103120"/>
                <a:ext cx="419100" cy="3048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pic>
            <p:nvPicPr>
              <p:cNvPr id="90" name="Gráfico 89">
                <a:extLst>
                  <a:ext uri="{FF2B5EF4-FFF2-40B4-BE49-F238E27FC236}">
                    <a16:creationId xmlns:a16="http://schemas.microsoft.com/office/drawing/2014/main" id="{51924EE7-CBCC-417D-A00A-EDE68F64BC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822785" y="1804835"/>
                <a:ext cx="902030" cy="902030"/>
              </a:xfrm>
              <a:prstGeom prst="rect">
                <a:avLst/>
              </a:prstGeom>
            </p:spPr>
          </p:pic>
        </p:grpSp>
      </p:grpSp>
      <p:grpSp>
        <p:nvGrpSpPr>
          <p:cNvPr id="119" name="Agrupar 118">
            <a:extLst>
              <a:ext uri="{FF2B5EF4-FFF2-40B4-BE49-F238E27FC236}">
                <a16:creationId xmlns:a16="http://schemas.microsoft.com/office/drawing/2014/main" id="{764B2F65-406B-4B1F-89FB-7CE842EC8F3E}"/>
              </a:ext>
            </a:extLst>
          </p:cNvPr>
          <p:cNvGrpSpPr/>
          <p:nvPr/>
        </p:nvGrpSpPr>
        <p:grpSpPr>
          <a:xfrm>
            <a:off x="7696094" y="4809852"/>
            <a:ext cx="775303" cy="633944"/>
            <a:chOff x="7696094" y="4809852"/>
            <a:chExt cx="775303" cy="633944"/>
          </a:xfrm>
        </p:grpSpPr>
        <p:sp>
          <p:nvSpPr>
            <p:cNvPr id="71" name="Retângulo 70">
              <a:extLst>
                <a:ext uri="{FF2B5EF4-FFF2-40B4-BE49-F238E27FC236}">
                  <a16:creationId xmlns:a16="http://schemas.microsoft.com/office/drawing/2014/main" id="{A0E3B165-28AA-49D7-BD8E-64D56FBE7228}"/>
                </a:ext>
              </a:extLst>
            </p:cNvPr>
            <p:cNvSpPr/>
            <p:nvPr/>
          </p:nvSpPr>
          <p:spPr>
            <a:xfrm>
              <a:off x="7696094" y="4809852"/>
              <a:ext cx="633944" cy="633944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pSp>
          <p:nvGrpSpPr>
            <p:cNvPr id="95" name="Agrupar 94">
              <a:extLst>
                <a:ext uri="{FF2B5EF4-FFF2-40B4-BE49-F238E27FC236}">
                  <a16:creationId xmlns:a16="http://schemas.microsoft.com/office/drawing/2014/main" id="{E478FFFF-C903-4784-8FF2-8706D0D2D84A}"/>
                </a:ext>
              </a:extLst>
            </p:cNvPr>
            <p:cNvGrpSpPr/>
            <p:nvPr/>
          </p:nvGrpSpPr>
          <p:grpSpPr>
            <a:xfrm>
              <a:off x="7899416" y="4885431"/>
              <a:ext cx="571981" cy="464543"/>
              <a:chOff x="8140716" y="4910831"/>
              <a:chExt cx="571981" cy="464543"/>
            </a:xfrm>
          </p:grpSpPr>
          <p:sp>
            <p:nvSpPr>
              <p:cNvPr id="97" name="Graphic 144">
                <a:extLst>
                  <a:ext uri="{FF2B5EF4-FFF2-40B4-BE49-F238E27FC236}">
                    <a16:creationId xmlns:a16="http://schemas.microsoft.com/office/drawing/2014/main" id="{315FD136-CF4F-4C29-8FCF-A34D5E06CFD9}"/>
                  </a:ext>
                </a:extLst>
              </p:cNvPr>
              <p:cNvSpPr/>
              <p:nvPr/>
            </p:nvSpPr>
            <p:spPr>
              <a:xfrm>
                <a:off x="8140716" y="4910831"/>
                <a:ext cx="571981" cy="464543"/>
              </a:xfrm>
              <a:custGeom>
                <a:avLst/>
                <a:gdLst>
                  <a:gd name="connsiteX0" fmla="*/ 806085 w 806084"/>
                  <a:gd name="connsiteY0" fmla="*/ 77746 h 654673"/>
                  <a:gd name="connsiteX1" fmla="*/ 710954 w 806084"/>
                  <a:gd name="connsiteY1" fmla="*/ 103327 h 654673"/>
                  <a:gd name="connsiteX2" fmla="*/ 783591 w 806084"/>
                  <a:gd name="connsiteY2" fmla="*/ 12286 h 654673"/>
                  <a:gd name="connsiteX3" fmla="*/ 678733 w 806084"/>
                  <a:gd name="connsiteY3" fmla="*/ 52177 h 654673"/>
                  <a:gd name="connsiteX4" fmla="*/ 558018 w 806084"/>
                  <a:gd name="connsiteY4" fmla="*/ 0 h 654673"/>
                  <a:gd name="connsiteX5" fmla="*/ 441143 w 806084"/>
                  <a:gd name="connsiteY5" fmla="*/ 48334 h 654673"/>
                  <a:gd name="connsiteX6" fmla="*/ 392814 w 806084"/>
                  <a:gd name="connsiteY6" fmla="*/ 165201 h 654673"/>
                  <a:gd name="connsiteX7" fmla="*/ 396906 w 806084"/>
                  <a:gd name="connsiteY7" fmla="*/ 203051 h 654673"/>
                  <a:gd name="connsiteX8" fmla="*/ 206888 w 806084"/>
                  <a:gd name="connsiteY8" fmla="*/ 152160 h 654673"/>
                  <a:gd name="connsiteX9" fmla="*/ 56259 w 806084"/>
                  <a:gd name="connsiteY9" fmla="*/ 30172 h 654673"/>
                  <a:gd name="connsiteX10" fmla="*/ 33751 w 806084"/>
                  <a:gd name="connsiteY10" fmla="*/ 113540 h 654673"/>
                  <a:gd name="connsiteX11" fmla="*/ 53705 w 806084"/>
                  <a:gd name="connsiteY11" fmla="*/ 192311 h 654673"/>
                  <a:gd name="connsiteX12" fmla="*/ 107413 w 806084"/>
                  <a:gd name="connsiteY12" fmla="*/ 251127 h 654673"/>
                  <a:gd name="connsiteX13" fmla="*/ 32737 w 806084"/>
                  <a:gd name="connsiteY13" fmla="*/ 230152 h 654673"/>
                  <a:gd name="connsiteX14" fmla="*/ 32737 w 806084"/>
                  <a:gd name="connsiteY14" fmla="*/ 232198 h 654673"/>
                  <a:gd name="connsiteX15" fmla="*/ 70328 w 806084"/>
                  <a:gd name="connsiteY15" fmla="*/ 337311 h 654673"/>
                  <a:gd name="connsiteX16" fmla="*/ 165206 w 806084"/>
                  <a:gd name="connsiteY16" fmla="*/ 394339 h 654673"/>
                  <a:gd name="connsiteX17" fmla="*/ 121729 w 806084"/>
                  <a:gd name="connsiteY17" fmla="*/ 399960 h 654673"/>
                  <a:gd name="connsiteX18" fmla="*/ 90528 w 806084"/>
                  <a:gd name="connsiteY18" fmla="*/ 397416 h 654673"/>
                  <a:gd name="connsiteX19" fmla="*/ 148834 w 806084"/>
                  <a:gd name="connsiteY19" fmla="*/ 478991 h 654673"/>
                  <a:gd name="connsiteX20" fmla="*/ 244994 w 806084"/>
                  <a:gd name="connsiteY20" fmla="*/ 511986 h 654673"/>
                  <a:gd name="connsiteX21" fmla="*/ 39896 w 806084"/>
                  <a:gd name="connsiteY21" fmla="*/ 582558 h 654673"/>
                  <a:gd name="connsiteX22" fmla="*/ 0 w 806084"/>
                  <a:gd name="connsiteY22" fmla="*/ 580517 h 654673"/>
                  <a:gd name="connsiteX23" fmla="*/ 253694 w 806084"/>
                  <a:gd name="connsiteY23" fmla="*/ 654673 h 654673"/>
                  <a:gd name="connsiteX24" fmla="*/ 418885 w 806084"/>
                  <a:gd name="connsiteY24" fmla="*/ 626804 h 654673"/>
                  <a:gd name="connsiteX25" fmla="*/ 550854 w 806084"/>
                  <a:gd name="connsiteY25" fmla="*/ 552124 h 654673"/>
                  <a:gd name="connsiteX26" fmla="*/ 645218 w 806084"/>
                  <a:gd name="connsiteY26" fmla="*/ 444462 h 654673"/>
                  <a:gd name="connsiteX27" fmla="*/ 704295 w 806084"/>
                  <a:gd name="connsiteY27" fmla="*/ 317365 h 654673"/>
                  <a:gd name="connsiteX28" fmla="*/ 723729 w 806084"/>
                  <a:gd name="connsiteY28" fmla="*/ 184631 h 654673"/>
                  <a:gd name="connsiteX29" fmla="*/ 723215 w 806084"/>
                  <a:gd name="connsiteY29" fmla="*/ 163149 h 654673"/>
                  <a:gd name="connsiteX30" fmla="*/ 806085 w 806084"/>
                  <a:gd name="connsiteY30" fmla="*/ 77746 h 65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806084" h="654673">
                    <a:moveTo>
                      <a:pt x="806085" y="77746"/>
                    </a:moveTo>
                    <a:cubicBezTo>
                      <a:pt x="774372" y="91387"/>
                      <a:pt x="742653" y="99905"/>
                      <a:pt x="710954" y="103327"/>
                    </a:cubicBezTo>
                    <a:cubicBezTo>
                      <a:pt x="746757" y="81845"/>
                      <a:pt x="770974" y="51498"/>
                      <a:pt x="783591" y="12286"/>
                    </a:cubicBezTo>
                    <a:cubicBezTo>
                      <a:pt x="750841" y="31718"/>
                      <a:pt x="715897" y="45013"/>
                      <a:pt x="678733" y="52177"/>
                    </a:cubicBezTo>
                    <a:cubicBezTo>
                      <a:pt x="645996" y="17397"/>
                      <a:pt x="605766" y="0"/>
                      <a:pt x="558018" y="0"/>
                    </a:cubicBezTo>
                    <a:cubicBezTo>
                      <a:pt x="512332" y="0"/>
                      <a:pt x="473378" y="16109"/>
                      <a:pt x="441143" y="48334"/>
                    </a:cubicBezTo>
                    <a:cubicBezTo>
                      <a:pt x="408925" y="80557"/>
                      <a:pt x="392814" y="119511"/>
                      <a:pt x="392814" y="165201"/>
                    </a:cubicBezTo>
                    <a:cubicBezTo>
                      <a:pt x="392814" y="177474"/>
                      <a:pt x="394176" y="190095"/>
                      <a:pt x="396906" y="203051"/>
                    </a:cubicBezTo>
                    <a:cubicBezTo>
                      <a:pt x="329389" y="199642"/>
                      <a:pt x="266053" y="182678"/>
                      <a:pt x="206888" y="152160"/>
                    </a:cubicBezTo>
                    <a:cubicBezTo>
                      <a:pt x="147727" y="121639"/>
                      <a:pt x="97517" y="80976"/>
                      <a:pt x="56259" y="30172"/>
                    </a:cubicBezTo>
                    <a:cubicBezTo>
                      <a:pt x="41256" y="55740"/>
                      <a:pt x="33751" y="83535"/>
                      <a:pt x="33751" y="113540"/>
                    </a:cubicBezTo>
                    <a:cubicBezTo>
                      <a:pt x="33751" y="141842"/>
                      <a:pt x="40399" y="168101"/>
                      <a:pt x="53705" y="192311"/>
                    </a:cubicBezTo>
                    <a:cubicBezTo>
                      <a:pt x="67001" y="216517"/>
                      <a:pt x="84907" y="236121"/>
                      <a:pt x="107413" y="251127"/>
                    </a:cubicBezTo>
                    <a:cubicBezTo>
                      <a:pt x="80811" y="250102"/>
                      <a:pt x="55921" y="243110"/>
                      <a:pt x="32737" y="230152"/>
                    </a:cubicBezTo>
                    <a:lnTo>
                      <a:pt x="32737" y="232198"/>
                    </a:lnTo>
                    <a:cubicBezTo>
                      <a:pt x="32737" y="272096"/>
                      <a:pt x="45269" y="307124"/>
                      <a:pt x="70328" y="337311"/>
                    </a:cubicBezTo>
                    <a:cubicBezTo>
                      <a:pt x="95390" y="367493"/>
                      <a:pt x="127019" y="386492"/>
                      <a:pt x="165206" y="394339"/>
                    </a:cubicBezTo>
                    <a:cubicBezTo>
                      <a:pt x="150883" y="398085"/>
                      <a:pt x="136388" y="399960"/>
                      <a:pt x="121729" y="399960"/>
                    </a:cubicBezTo>
                    <a:cubicBezTo>
                      <a:pt x="112180" y="399960"/>
                      <a:pt x="101779" y="399109"/>
                      <a:pt x="90528" y="397416"/>
                    </a:cubicBezTo>
                    <a:cubicBezTo>
                      <a:pt x="101098" y="430485"/>
                      <a:pt x="120536" y="457669"/>
                      <a:pt x="148834" y="478991"/>
                    </a:cubicBezTo>
                    <a:cubicBezTo>
                      <a:pt x="177137" y="500302"/>
                      <a:pt x="209190" y="511288"/>
                      <a:pt x="244994" y="511986"/>
                    </a:cubicBezTo>
                    <a:cubicBezTo>
                      <a:pt x="184984" y="559034"/>
                      <a:pt x="116618" y="582558"/>
                      <a:pt x="39896" y="582558"/>
                    </a:cubicBezTo>
                    <a:cubicBezTo>
                      <a:pt x="25231" y="582558"/>
                      <a:pt x="11937" y="581890"/>
                      <a:pt x="0" y="580517"/>
                    </a:cubicBezTo>
                    <a:cubicBezTo>
                      <a:pt x="76723" y="629955"/>
                      <a:pt x="161286" y="654673"/>
                      <a:pt x="253694" y="654673"/>
                    </a:cubicBezTo>
                    <a:cubicBezTo>
                      <a:pt x="312343" y="654673"/>
                      <a:pt x="367413" y="645392"/>
                      <a:pt x="418885" y="626804"/>
                    </a:cubicBezTo>
                    <a:cubicBezTo>
                      <a:pt x="470383" y="608228"/>
                      <a:pt x="514365" y="583330"/>
                      <a:pt x="550854" y="552124"/>
                    </a:cubicBezTo>
                    <a:cubicBezTo>
                      <a:pt x="587332" y="520926"/>
                      <a:pt x="618796" y="485037"/>
                      <a:pt x="645218" y="444462"/>
                    </a:cubicBezTo>
                    <a:cubicBezTo>
                      <a:pt x="671642" y="403884"/>
                      <a:pt x="691327" y="361521"/>
                      <a:pt x="704295" y="317365"/>
                    </a:cubicBezTo>
                    <a:cubicBezTo>
                      <a:pt x="717248" y="273199"/>
                      <a:pt x="723729" y="228966"/>
                      <a:pt x="723729" y="184631"/>
                    </a:cubicBezTo>
                    <a:cubicBezTo>
                      <a:pt x="723729" y="175082"/>
                      <a:pt x="723557" y="167925"/>
                      <a:pt x="723215" y="163149"/>
                    </a:cubicBezTo>
                    <a:cubicBezTo>
                      <a:pt x="755617" y="139633"/>
                      <a:pt x="783237" y="111155"/>
                      <a:pt x="806085" y="77746"/>
                    </a:cubicBezTo>
                    <a:close/>
                  </a:path>
                </a:pathLst>
              </a:custGeom>
              <a:solidFill>
                <a:srgbClr val="F36D20"/>
              </a:solidFill>
              <a:ln w="5715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94" name="Graphic 144">
                <a:extLst>
                  <a:ext uri="{FF2B5EF4-FFF2-40B4-BE49-F238E27FC236}">
                    <a16:creationId xmlns:a16="http://schemas.microsoft.com/office/drawing/2014/main" id="{4A89585D-E4D9-4AA0-82A0-2EDF8BB78B1A}"/>
                  </a:ext>
                </a:extLst>
              </p:cNvPr>
              <p:cNvSpPr/>
              <p:nvPr/>
            </p:nvSpPr>
            <p:spPr>
              <a:xfrm>
                <a:off x="8155002" y="4929188"/>
                <a:ext cx="540583" cy="439043"/>
              </a:xfrm>
              <a:custGeom>
                <a:avLst/>
                <a:gdLst>
                  <a:gd name="connsiteX0" fmla="*/ 806085 w 806084"/>
                  <a:gd name="connsiteY0" fmla="*/ 77746 h 654673"/>
                  <a:gd name="connsiteX1" fmla="*/ 710954 w 806084"/>
                  <a:gd name="connsiteY1" fmla="*/ 103327 h 654673"/>
                  <a:gd name="connsiteX2" fmla="*/ 783591 w 806084"/>
                  <a:gd name="connsiteY2" fmla="*/ 12286 h 654673"/>
                  <a:gd name="connsiteX3" fmla="*/ 678733 w 806084"/>
                  <a:gd name="connsiteY3" fmla="*/ 52177 h 654673"/>
                  <a:gd name="connsiteX4" fmla="*/ 558018 w 806084"/>
                  <a:gd name="connsiteY4" fmla="*/ 0 h 654673"/>
                  <a:gd name="connsiteX5" fmla="*/ 441143 w 806084"/>
                  <a:gd name="connsiteY5" fmla="*/ 48334 h 654673"/>
                  <a:gd name="connsiteX6" fmla="*/ 392814 w 806084"/>
                  <a:gd name="connsiteY6" fmla="*/ 165201 h 654673"/>
                  <a:gd name="connsiteX7" fmla="*/ 396906 w 806084"/>
                  <a:gd name="connsiteY7" fmla="*/ 203051 h 654673"/>
                  <a:gd name="connsiteX8" fmla="*/ 206888 w 806084"/>
                  <a:gd name="connsiteY8" fmla="*/ 152160 h 654673"/>
                  <a:gd name="connsiteX9" fmla="*/ 56259 w 806084"/>
                  <a:gd name="connsiteY9" fmla="*/ 30172 h 654673"/>
                  <a:gd name="connsiteX10" fmla="*/ 33751 w 806084"/>
                  <a:gd name="connsiteY10" fmla="*/ 113540 h 654673"/>
                  <a:gd name="connsiteX11" fmla="*/ 53705 w 806084"/>
                  <a:gd name="connsiteY11" fmla="*/ 192311 h 654673"/>
                  <a:gd name="connsiteX12" fmla="*/ 107413 w 806084"/>
                  <a:gd name="connsiteY12" fmla="*/ 251127 h 654673"/>
                  <a:gd name="connsiteX13" fmla="*/ 32737 w 806084"/>
                  <a:gd name="connsiteY13" fmla="*/ 230152 h 654673"/>
                  <a:gd name="connsiteX14" fmla="*/ 32737 w 806084"/>
                  <a:gd name="connsiteY14" fmla="*/ 232198 h 654673"/>
                  <a:gd name="connsiteX15" fmla="*/ 70328 w 806084"/>
                  <a:gd name="connsiteY15" fmla="*/ 337311 h 654673"/>
                  <a:gd name="connsiteX16" fmla="*/ 165206 w 806084"/>
                  <a:gd name="connsiteY16" fmla="*/ 394339 h 654673"/>
                  <a:gd name="connsiteX17" fmla="*/ 121729 w 806084"/>
                  <a:gd name="connsiteY17" fmla="*/ 399960 h 654673"/>
                  <a:gd name="connsiteX18" fmla="*/ 90528 w 806084"/>
                  <a:gd name="connsiteY18" fmla="*/ 397416 h 654673"/>
                  <a:gd name="connsiteX19" fmla="*/ 148834 w 806084"/>
                  <a:gd name="connsiteY19" fmla="*/ 478991 h 654673"/>
                  <a:gd name="connsiteX20" fmla="*/ 244994 w 806084"/>
                  <a:gd name="connsiteY20" fmla="*/ 511986 h 654673"/>
                  <a:gd name="connsiteX21" fmla="*/ 39896 w 806084"/>
                  <a:gd name="connsiteY21" fmla="*/ 582558 h 654673"/>
                  <a:gd name="connsiteX22" fmla="*/ 0 w 806084"/>
                  <a:gd name="connsiteY22" fmla="*/ 580517 h 654673"/>
                  <a:gd name="connsiteX23" fmla="*/ 253694 w 806084"/>
                  <a:gd name="connsiteY23" fmla="*/ 654673 h 654673"/>
                  <a:gd name="connsiteX24" fmla="*/ 418885 w 806084"/>
                  <a:gd name="connsiteY24" fmla="*/ 626804 h 654673"/>
                  <a:gd name="connsiteX25" fmla="*/ 550854 w 806084"/>
                  <a:gd name="connsiteY25" fmla="*/ 552124 h 654673"/>
                  <a:gd name="connsiteX26" fmla="*/ 645218 w 806084"/>
                  <a:gd name="connsiteY26" fmla="*/ 444462 h 654673"/>
                  <a:gd name="connsiteX27" fmla="*/ 704295 w 806084"/>
                  <a:gd name="connsiteY27" fmla="*/ 317365 h 654673"/>
                  <a:gd name="connsiteX28" fmla="*/ 723729 w 806084"/>
                  <a:gd name="connsiteY28" fmla="*/ 184631 h 654673"/>
                  <a:gd name="connsiteX29" fmla="*/ 723215 w 806084"/>
                  <a:gd name="connsiteY29" fmla="*/ 163149 h 654673"/>
                  <a:gd name="connsiteX30" fmla="*/ 806085 w 806084"/>
                  <a:gd name="connsiteY30" fmla="*/ 77746 h 65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806084" h="654673">
                    <a:moveTo>
                      <a:pt x="806085" y="77746"/>
                    </a:moveTo>
                    <a:cubicBezTo>
                      <a:pt x="774372" y="91387"/>
                      <a:pt x="742653" y="99905"/>
                      <a:pt x="710954" y="103327"/>
                    </a:cubicBezTo>
                    <a:cubicBezTo>
                      <a:pt x="746757" y="81845"/>
                      <a:pt x="770974" y="51498"/>
                      <a:pt x="783591" y="12286"/>
                    </a:cubicBezTo>
                    <a:cubicBezTo>
                      <a:pt x="750841" y="31718"/>
                      <a:pt x="715897" y="45013"/>
                      <a:pt x="678733" y="52177"/>
                    </a:cubicBezTo>
                    <a:cubicBezTo>
                      <a:pt x="645996" y="17397"/>
                      <a:pt x="605766" y="0"/>
                      <a:pt x="558018" y="0"/>
                    </a:cubicBezTo>
                    <a:cubicBezTo>
                      <a:pt x="512332" y="0"/>
                      <a:pt x="473378" y="16109"/>
                      <a:pt x="441143" y="48334"/>
                    </a:cubicBezTo>
                    <a:cubicBezTo>
                      <a:pt x="408925" y="80557"/>
                      <a:pt x="392814" y="119511"/>
                      <a:pt x="392814" y="165201"/>
                    </a:cubicBezTo>
                    <a:cubicBezTo>
                      <a:pt x="392814" y="177474"/>
                      <a:pt x="394176" y="190095"/>
                      <a:pt x="396906" y="203051"/>
                    </a:cubicBezTo>
                    <a:cubicBezTo>
                      <a:pt x="329389" y="199642"/>
                      <a:pt x="266053" y="182678"/>
                      <a:pt x="206888" y="152160"/>
                    </a:cubicBezTo>
                    <a:cubicBezTo>
                      <a:pt x="147727" y="121639"/>
                      <a:pt x="97517" y="80976"/>
                      <a:pt x="56259" y="30172"/>
                    </a:cubicBezTo>
                    <a:cubicBezTo>
                      <a:pt x="41256" y="55740"/>
                      <a:pt x="33751" y="83535"/>
                      <a:pt x="33751" y="113540"/>
                    </a:cubicBezTo>
                    <a:cubicBezTo>
                      <a:pt x="33751" y="141842"/>
                      <a:pt x="40399" y="168101"/>
                      <a:pt x="53705" y="192311"/>
                    </a:cubicBezTo>
                    <a:cubicBezTo>
                      <a:pt x="67001" y="216517"/>
                      <a:pt x="84907" y="236121"/>
                      <a:pt x="107413" y="251127"/>
                    </a:cubicBezTo>
                    <a:cubicBezTo>
                      <a:pt x="80811" y="250102"/>
                      <a:pt x="55921" y="243110"/>
                      <a:pt x="32737" y="230152"/>
                    </a:cubicBezTo>
                    <a:lnTo>
                      <a:pt x="32737" y="232198"/>
                    </a:lnTo>
                    <a:cubicBezTo>
                      <a:pt x="32737" y="272096"/>
                      <a:pt x="45269" y="307124"/>
                      <a:pt x="70328" y="337311"/>
                    </a:cubicBezTo>
                    <a:cubicBezTo>
                      <a:pt x="95390" y="367493"/>
                      <a:pt x="127019" y="386492"/>
                      <a:pt x="165206" y="394339"/>
                    </a:cubicBezTo>
                    <a:cubicBezTo>
                      <a:pt x="150883" y="398085"/>
                      <a:pt x="136388" y="399960"/>
                      <a:pt x="121729" y="399960"/>
                    </a:cubicBezTo>
                    <a:cubicBezTo>
                      <a:pt x="112180" y="399960"/>
                      <a:pt x="101779" y="399109"/>
                      <a:pt x="90528" y="397416"/>
                    </a:cubicBezTo>
                    <a:cubicBezTo>
                      <a:pt x="101098" y="430485"/>
                      <a:pt x="120536" y="457669"/>
                      <a:pt x="148834" y="478991"/>
                    </a:cubicBezTo>
                    <a:cubicBezTo>
                      <a:pt x="177137" y="500302"/>
                      <a:pt x="209190" y="511288"/>
                      <a:pt x="244994" y="511986"/>
                    </a:cubicBezTo>
                    <a:cubicBezTo>
                      <a:pt x="184984" y="559034"/>
                      <a:pt x="116618" y="582558"/>
                      <a:pt x="39896" y="582558"/>
                    </a:cubicBezTo>
                    <a:cubicBezTo>
                      <a:pt x="25231" y="582558"/>
                      <a:pt x="11937" y="581890"/>
                      <a:pt x="0" y="580517"/>
                    </a:cubicBezTo>
                    <a:cubicBezTo>
                      <a:pt x="76723" y="629955"/>
                      <a:pt x="161286" y="654673"/>
                      <a:pt x="253694" y="654673"/>
                    </a:cubicBezTo>
                    <a:cubicBezTo>
                      <a:pt x="312343" y="654673"/>
                      <a:pt x="367413" y="645392"/>
                      <a:pt x="418885" y="626804"/>
                    </a:cubicBezTo>
                    <a:cubicBezTo>
                      <a:pt x="470383" y="608228"/>
                      <a:pt x="514365" y="583330"/>
                      <a:pt x="550854" y="552124"/>
                    </a:cubicBezTo>
                    <a:cubicBezTo>
                      <a:pt x="587332" y="520926"/>
                      <a:pt x="618796" y="485037"/>
                      <a:pt x="645218" y="444462"/>
                    </a:cubicBezTo>
                    <a:cubicBezTo>
                      <a:pt x="671642" y="403884"/>
                      <a:pt x="691327" y="361521"/>
                      <a:pt x="704295" y="317365"/>
                    </a:cubicBezTo>
                    <a:cubicBezTo>
                      <a:pt x="717248" y="273199"/>
                      <a:pt x="723729" y="228966"/>
                      <a:pt x="723729" y="184631"/>
                    </a:cubicBezTo>
                    <a:cubicBezTo>
                      <a:pt x="723729" y="175082"/>
                      <a:pt x="723557" y="167925"/>
                      <a:pt x="723215" y="163149"/>
                    </a:cubicBezTo>
                    <a:cubicBezTo>
                      <a:pt x="755617" y="139633"/>
                      <a:pt x="783237" y="111155"/>
                      <a:pt x="806085" y="77746"/>
                    </a:cubicBezTo>
                    <a:close/>
                  </a:path>
                </a:pathLst>
              </a:custGeom>
              <a:solidFill>
                <a:srgbClr val="F36D20"/>
              </a:solidFill>
              <a:ln w="17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sp>
        <p:nvSpPr>
          <p:cNvPr id="211" name="CaixaDeTexto 3">
            <a:extLst>
              <a:ext uri="{FF2B5EF4-FFF2-40B4-BE49-F238E27FC236}">
                <a16:creationId xmlns:a16="http://schemas.microsoft.com/office/drawing/2014/main" id="{63473FA3-241C-457C-9649-174A0FAC1C4E}"/>
              </a:ext>
            </a:extLst>
          </p:cNvPr>
          <p:cNvSpPr txBox="1"/>
          <p:nvPr/>
        </p:nvSpPr>
        <p:spPr>
          <a:xfrm>
            <a:off x="269562" y="2814359"/>
            <a:ext cx="4562420" cy="1176709"/>
          </a:xfrm>
          <a:prstGeom prst="rect">
            <a:avLst/>
          </a:prstGeom>
          <a:noFill/>
        </p:spPr>
        <p:txBody>
          <a:bodyPr wrap="square" lIns="35993" tIns="35993" rIns="35993" bIns="35993" rtlCol="0">
            <a:spAutoFit/>
          </a:bodyPr>
          <a:lstStyle>
            <a:defPPr>
              <a:defRPr lang="en-US"/>
            </a:defPPr>
            <a:lvl1pPr marR="0" lvl="0" indent="0" algn="r" defTabSz="1316553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400" b="1" i="0" u="none" strike="noStrike" cap="none" spc="0" normalizeH="0" baseline="0">
                <a:ln>
                  <a:noFill/>
                </a:ln>
                <a:solidFill>
                  <a:srgbClr val="0066CC"/>
                </a:solidFill>
                <a:effectLst/>
                <a:uLnTx/>
                <a:uFillTx/>
                <a:latin typeface="Officina Serif ITC TT" panose="00000400000000000000" pitchFamily="2" charset="0"/>
              </a:defRPr>
            </a:lvl1pPr>
          </a:lstStyle>
          <a:p>
            <a:pPr algn="l"/>
            <a:r>
              <a:rPr lang="pt-BR" sz="4800">
                <a:solidFill>
                  <a:srgbClr val="660099"/>
                </a:solidFill>
                <a:latin typeface="Vivo Type" panose="02000500000000020000" pitchFamily="50" charset="0"/>
                <a:cs typeface="Vivo Type" panose="02000500000000020000" pitchFamily="50" charset="0"/>
              </a:rPr>
              <a:t>ACOMPANHE </a:t>
            </a:r>
            <a:br>
              <a:rPr lang="pt-BR" sz="4800">
                <a:solidFill>
                  <a:srgbClr val="660099"/>
                </a:solidFill>
                <a:latin typeface="Vivo Type" panose="02000500000000020000" pitchFamily="50" charset="0"/>
                <a:cs typeface="Vivo Type" panose="02000500000000020000" pitchFamily="50" charset="0"/>
              </a:rPr>
            </a:br>
            <a:r>
              <a:rPr lang="pt-BR" sz="3600" b="0">
                <a:solidFill>
                  <a:srgbClr val="666666"/>
                </a:solidFill>
                <a:latin typeface="Vivo Type" panose="02000500000000020000" pitchFamily="50" charset="0"/>
                <a:cs typeface="Vivo Type" panose="02000500000000020000" pitchFamily="50" charset="0"/>
              </a:rPr>
              <a:t>A FUNDAÇÃO</a:t>
            </a:r>
          </a:p>
        </p:txBody>
      </p:sp>
      <p:grpSp>
        <p:nvGrpSpPr>
          <p:cNvPr id="100" name="Agrupar 99">
            <a:extLst>
              <a:ext uri="{FF2B5EF4-FFF2-40B4-BE49-F238E27FC236}">
                <a16:creationId xmlns:a16="http://schemas.microsoft.com/office/drawing/2014/main" id="{C10F1542-8AA0-4F4A-98C0-B3A41A07AE15}"/>
              </a:ext>
            </a:extLst>
          </p:cNvPr>
          <p:cNvGrpSpPr/>
          <p:nvPr/>
        </p:nvGrpSpPr>
        <p:grpSpPr>
          <a:xfrm rot="10800000">
            <a:off x="666960" y="266699"/>
            <a:ext cx="3714540" cy="2190615"/>
            <a:chOff x="8477460" y="-1"/>
            <a:chExt cx="3714540" cy="2190615"/>
          </a:xfrm>
        </p:grpSpPr>
        <p:sp>
          <p:nvSpPr>
            <p:cNvPr id="101" name="Retângulo 100">
              <a:extLst>
                <a:ext uri="{FF2B5EF4-FFF2-40B4-BE49-F238E27FC236}">
                  <a16:creationId xmlns:a16="http://schemas.microsoft.com/office/drawing/2014/main" id="{CA5E09E2-5D17-430F-AB1A-0C77D9D50547}"/>
                </a:ext>
              </a:extLst>
            </p:cNvPr>
            <p:cNvSpPr/>
            <p:nvPr/>
          </p:nvSpPr>
          <p:spPr>
            <a:xfrm>
              <a:off x="11515725" y="-1"/>
              <a:ext cx="676275" cy="676275"/>
            </a:xfrm>
            <a:prstGeom prst="rect">
              <a:avLst/>
            </a:prstGeom>
            <a:solidFill>
              <a:srgbClr val="A178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2" name="Retângulo 101">
              <a:extLst>
                <a:ext uri="{FF2B5EF4-FFF2-40B4-BE49-F238E27FC236}">
                  <a16:creationId xmlns:a16="http://schemas.microsoft.com/office/drawing/2014/main" id="{1043E4E1-C36E-4322-BCC5-F3B9A272B17F}"/>
                </a:ext>
              </a:extLst>
            </p:cNvPr>
            <p:cNvSpPr/>
            <p:nvPr/>
          </p:nvSpPr>
          <p:spPr>
            <a:xfrm>
              <a:off x="11811346" y="1142999"/>
              <a:ext cx="380653" cy="380653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3" name="Retângulo 102">
              <a:extLst>
                <a:ext uri="{FF2B5EF4-FFF2-40B4-BE49-F238E27FC236}">
                  <a16:creationId xmlns:a16="http://schemas.microsoft.com/office/drawing/2014/main" id="{7E091DB7-F4D2-44B0-97C4-C2AFC54A9F96}"/>
                </a:ext>
              </a:extLst>
            </p:cNvPr>
            <p:cNvSpPr/>
            <p:nvPr/>
          </p:nvSpPr>
          <p:spPr>
            <a:xfrm>
              <a:off x="10715971" y="1428749"/>
              <a:ext cx="380653" cy="380653"/>
            </a:xfrm>
            <a:prstGeom prst="rect">
              <a:avLst/>
            </a:prstGeom>
            <a:solidFill>
              <a:srgbClr val="A178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4" name="Retângulo 103">
              <a:extLst>
                <a:ext uri="{FF2B5EF4-FFF2-40B4-BE49-F238E27FC236}">
                  <a16:creationId xmlns:a16="http://schemas.microsoft.com/office/drawing/2014/main" id="{7D8DB4C2-CB94-421E-9B74-EF2EFA8328C0}"/>
                </a:ext>
              </a:extLst>
            </p:cNvPr>
            <p:cNvSpPr/>
            <p:nvPr/>
          </p:nvSpPr>
          <p:spPr>
            <a:xfrm>
              <a:off x="10487235" y="790787"/>
              <a:ext cx="218864" cy="218864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5" name="Retângulo 104">
              <a:extLst>
                <a:ext uri="{FF2B5EF4-FFF2-40B4-BE49-F238E27FC236}">
                  <a16:creationId xmlns:a16="http://schemas.microsoft.com/office/drawing/2014/main" id="{F35F53EB-BEB3-44C2-9CEE-6DABFAEA184D}"/>
                </a:ext>
              </a:extLst>
            </p:cNvPr>
            <p:cNvSpPr/>
            <p:nvPr/>
          </p:nvSpPr>
          <p:spPr>
            <a:xfrm>
              <a:off x="9506296" y="219074"/>
              <a:ext cx="533054" cy="533054"/>
            </a:xfrm>
            <a:prstGeom prst="rect">
              <a:avLst/>
            </a:prstGeom>
            <a:solidFill>
              <a:srgbClr val="A178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6" name="Retângulo 105">
              <a:extLst>
                <a:ext uri="{FF2B5EF4-FFF2-40B4-BE49-F238E27FC236}">
                  <a16:creationId xmlns:a16="http://schemas.microsoft.com/office/drawing/2014/main" id="{AADE6183-B272-495F-A513-2E0663848C2B}"/>
                </a:ext>
              </a:extLst>
            </p:cNvPr>
            <p:cNvSpPr/>
            <p:nvPr/>
          </p:nvSpPr>
          <p:spPr>
            <a:xfrm>
              <a:off x="10334971" y="1809961"/>
              <a:ext cx="380653" cy="380653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7" name="Retângulo 106">
              <a:extLst>
                <a:ext uri="{FF2B5EF4-FFF2-40B4-BE49-F238E27FC236}">
                  <a16:creationId xmlns:a16="http://schemas.microsoft.com/office/drawing/2014/main" id="{1A406B0D-9742-49A0-A755-D7DFCD095503}"/>
                </a:ext>
              </a:extLst>
            </p:cNvPr>
            <p:cNvSpPr/>
            <p:nvPr/>
          </p:nvSpPr>
          <p:spPr>
            <a:xfrm>
              <a:off x="8477460" y="1209887"/>
              <a:ext cx="218864" cy="218864"/>
            </a:xfrm>
            <a:prstGeom prst="rect">
              <a:avLst/>
            </a:prstGeom>
            <a:solidFill>
              <a:srgbClr val="A178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08" name="Agrupar 107">
            <a:extLst>
              <a:ext uri="{FF2B5EF4-FFF2-40B4-BE49-F238E27FC236}">
                <a16:creationId xmlns:a16="http://schemas.microsoft.com/office/drawing/2014/main" id="{34A5D5AD-E17E-46C3-8A1A-A867172FCB7A}"/>
              </a:ext>
            </a:extLst>
          </p:cNvPr>
          <p:cNvGrpSpPr/>
          <p:nvPr/>
        </p:nvGrpSpPr>
        <p:grpSpPr>
          <a:xfrm rot="10800000">
            <a:off x="1605065" y="4605756"/>
            <a:ext cx="1490360" cy="1758778"/>
            <a:chOff x="9910433" y="790787"/>
            <a:chExt cx="1186191" cy="1399827"/>
          </a:xfrm>
        </p:grpSpPr>
        <p:sp>
          <p:nvSpPr>
            <p:cNvPr id="111" name="Retângulo 110">
              <a:extLst>
                <a:ext uri="{FF2B5EF4-FFF2-40B4-BE49-F238E27FC236}">
                  <a16:creationId xmlns:a16="http://schemas.microsoft.com/office/drawing/2014/main" id="{ACE4A76E-D5A3-477F-8790-7A4A2B145015}"/>
                </a:ext>
              </a:extLst>
            </p:cNvPr>
            <p:cNvSpPr/>
            <p:nvPr/>
          </p:nvSpPr>
          <p:spPr>
            <a:xfrm>
              <a:off x="10715971" y="1428749"/>
              <a:ext cx="380653" cy="380653"/>
            </a:xfrm>
            <a:prstGeom prst="rect">
              <a:avLst/>
            </a:prstGeom>
            <a:solidFill>
              <a:srgbClr val="A178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2" name="Retângulo 111">
              <a:extLst>
                <a:ext uri="{FF2B5EF4-FFF2-40B4-BE49-F238E27FC236}">
                  <a16:creationId xmlns:a16="http://schemas.microsoft.com/office/drawing/2014/main" id="{B34C5648-DE2C-46B7-9661-43E5BB48DDC9}"/>
                </a:ext>
              </a:extLst>
            </p:cNvPr>
            <p:cNvSpPr/>
            <p:nvPr/>
          </p:nvSpPr>
          <p:spPr>
            <a:xfrm>
              <a:off x="10487235" y="790787"/>
              <a:ext cx="218864" cy="218864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4" name="Retângulo 113">
              <a:extLst>
                <a:ext uri="{FF2B5EF4-FFF2-40B4-BE49-F238E27FC236}">
                  <a16:creationId xmlns:a16="http://schemas.microsoft.com/office/drawing/2014/main" id="{580F527D-D212-4E63-81AA-DDB28657342B}"/>
                </a:ext>
              </a:extLst>
            </p:cNvPr>
            <p:cNvSpPr/>
            <p:nvPr/>
          </p:nvSpPr>
          <p:spPr>
            <a:xfrm>
              <a:off x="9910433" y="1809961"/>
              <a:ext cx="380653" cy="380653"/>
            </a:xfrm>
            <a:prstGeom prst="rect">
              <a:avLst/>
            </a:prstGeom>
            <a:solidFill>
              <a:srgbClr val="F4B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54" name="Imagem 53" descr="Uma imagem contendo Texto&#10;&#10;Descrição gerada automaticamente">
            <a:extLst>
              <a:ext uri="{FF2B5EF4-FFF2-40B4-BE49-F238E27FC236}">
                <a16:creationId xmlns:a16="http://schemas.microsoft.com/office/drawing/2014/main" id="{51E57946-D971-4354-BE4C-921844F16F7E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002" y="2616361"/>
            <a:ext cx="2242704" cy="1390903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9C5B85FE-63AA-44AF-9A52-780A2691D46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511978" y="5791200"/>
            <a:ext cx="1505843" cy="9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08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Personalizada 17">
      <a:dk1>
        <a:srgbClr val="3C3C3C"/>
      </a:dk1>
      <a:lt1>
        <a:srgbClr val="FFFFFF"/>
      </a:lt1>
      <a:dk2>
        <a:srgbClr val="E7E0F0"/>
      </a:dk2>
      <a:lt2>
        <a:srgbClr val="FFFFFF"/>
      </a:lt2>
      <a:accent1>
        <a:srgbClr val="660099"/>
      </a:accent1>
      <a:accent2>
        <a:srgbClr val="99CC33"/>
      </a:accent2>
      <a:accent3>
        <a:srgbClr val="FF9900"/>
      </a:accent3>
      <a:accent4>
        <a:srgbClr val="461E5F"/>
      </a:accent4>
      <a:accent5>
        <a:srgbClr val="FA6423"/>
      </a:accent5>
      <a:accent6>
        <a:srgbClr val="3C3C3C"/>
      </a:accent6>
      <a:hlink>
        <a:srgbClr val="660099"/>
      </a:hlink>
      <a:folHlink>
        <a:srgbClr val="B9BDCB"/>
      </a:folHlink>
    </a:clrScheme>
    <a:fontScheme name="Personalizada 7">
      <a:majorFont>
        <a:latin typeface="Officina Serif ITC TT"/>
        <a:ea typeface=""/>
        <a:cs typeface=""/>
      </a:majorFont>
      <a:minorFont>
        <a:latin typeface="Officina Serif ITC 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6DCFD845F8E7B429B48C0C5545BE915" ma:contentTypeVersion="13" ma:contentTypeDescription="Crie um novo documento." ma:contentTypeScope="" ma:versionID="4591dc70fb4d2098f08b56e6784ca06d">
  <xsd:schema xmlns:xsd="http://www.w3.org/2001/XMLSchema" xmlns:xs="http://www.w3.org/2001/XMLSchema" xmlns:p="http://schemas.microsoft.com/office/2006/metadata/properties" xmlns:ns2="3e47fad2-d5a5-4b21-a6cf-7a9a6e5f2da1" xmlns:ns3="050aa761-6dff-4644-aefc-8f1ce8d7dbdb" targetNamespace="http://schemas.microsoft.com/office/2006/metadata/properties" ma:root="true" ma:fieldsID="6e2d735b91b60d06c0ab056e0e7faa26" ns2:_="" ns3:_="">
    <xsd:import namespace="3e47fad2-d5a5-4b21-a6cf-7a9a6e5f2da1"/>
    <xsd:import namespace="050aa761-6dff-4644-aefc-8f1ce8d7db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47fad2-d5a5-4b21-a6cf-7a9a6e5f2d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Marcações de imagem" ma:readOnly="false" ma:fieldId="{5cf76f15-5ced-4ddc-b409-7134ff3c332f}" ma:taxonomyMulti="true" ma:sspId="3ebd722c-8eea-4fa2-a257-8118360c8e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0aa761-6dff-4644-aefc-8f1ce8d7dbd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39C7C10B-0C0B-43C0-9B10-C87F0A08CA60}" ma:internalName="TaxCatchAll" ma:showField="CatchAllData" ma:web="{9c5fb95f-86cd-4055-9163-9921d42e523b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50aa761-6dff-4644-aefc-8f1ce8d7dbdb" xsi:nil="true"/>
    <lcf76f155ced4ddcb4097134ff3c332f xmlns="3e47fad2-d5a5-4b21-a6cf-7a9a6e5f2da1">
      <Terms xmlns="http://schemas.microsoft.com/office/infopath/2007/PartnerControls"/>
    </lcf76f155ced4ddcb4097134ff3c332f>
    <SharedWithUsers xmlns="050aa761-6dff-4644-aefc-8f1ce8d7dbdb">
      <UserInfo>
        <DisplayName>Karina Daidone Gennari Pimentel</DisplayName>
        <AccountId>11867</AccountId>
        <AccountType/>
      </UserInfo>
      <UserInfo>
        <DisplayName>Lia Roitburd</DisplayName>
        <AccountId>80501</AccountId>
        <AccountType/>
      </UserInfo>
      <UserInfo>
        <DisplayName>Odair Barros Da Silva</DisplayName>
        <AccountId>9208</AccountId>
        <AccountType/>
      </UserInfo>
      <UserInfo>
        <DisplayName>Alessandra Magalhaes Mondenini Cruz</DisplayName>
        <AccountId>21361</AccountId>
        <AccountType/>
      </UserInfo>
      <UserInfo>
        <DisplayName>Catherine Rojas Merchan</DisplayName>
        <AccountId>53087</AccountId>
        <AccountType/>
      </UserInfo>
      <UserInfo>
        <DisplayName>Luciana Aparecida Novaes Queiroz</DisplayName>
        <AccountId>21347</AccountId>
        <AccountType/>
      </UserInfo>
      <UserInfo>
        <DisplayName>Lia Carolina Ortiz De Barros Glaz</DisplayName>
        <AccountId>56419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2DFCAB-934B-4AD4-9586-3692A67483EE}">
  <ds:schemaRefs>
    <ds:schemaRef ds:uri="050aa761-6dff-4644-aefc-8f1ce8d7dbdb"/>
    <ds:schemaRef ds:uri="3e47fad2-d5a5-4b21-a6cf-7a9a6e5f2d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571EE07-9299-4671-AB53-A950062DD15D}">
  <ds:schemaRefs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050aa761-6dff-4644-aefc-8f1ce8d7dbdb"/>
    <ds:schemaRef ds:uri="http://purl.org/dc/elements/1.1/"/>
    <ds:schemaRef ds:uri="3e47fad2-d5a5-4b21-a6cf-7a9a6e5f2da1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80148623-FEBA-40C4-8646-264025A26F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</TotalTime>
  <Words>127</Words>
  <Application>Microsoft Office PowerPoint</Application>
  <PresentationFormat>Widescreen</PresentationFormat>
  <Paragraphs>19</Paragraphs>
  <Slides>8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6" baseType="lpstr">
      <vt:lpstr>Arial</vt:lpstr>
      <vt:lpstr>Calibri</vt:lpstr>
      <vt:lpstr>Officina Serif ITC TT</vt:lpstr>
      <vt:lpstr>VIVO</vt:lpstr>
      <vt:lpstr>Vivo Type</vt:lpstr>
      <vt:lpstr>Vivo Type Light</vt:lpstr>
      <vt:lpstr>1_Tema do Office</vt:lpstr>
      <vt:lpstr>think-cell Slide</vt:lpstr>
      <vt:lpstr>Apresentação do PowerPoint</vt:lpstr>
      <vt:lpstr>Apresentação do PowerPoint</vt:lpstr>
      <vt:lpstr>Apresentação do PowerPoint</vt:lpstr>
      <vt:lpstr>Agenda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uilherme</dc:creator>
  <cp:lastModifiedBy>Alexandra Palhares Alves</cp:lastModifiedBy>
  <cp:revision>5</cp:revision>
  <cp:lastPrinted>2022-04-22T13:37:14Z</cp:lastPrinted>
  <dcterms:created xsi:type="dcterms:W3CDTF">2012-03-16T20:40:08Z</dcterms:created>
  <dcterms:modified xsi:type="dcterms:W3CDTF">2023-02-24T19:4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DCFD845F8E7B429B48C0C5545BE915</vt:lpwstr>
  </property>
  <property fmtid="{D5CDD505-2E9C-101B-9397-08002B2CF9AE}" pid="3" name="MediaServiceImageTags">
    <vt:lpwstr/>
  </property>
</Properties>
</file>